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ags/tag2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1" r:id="rId4"/>
    <p:sldMasterId id="2147483754" r:id="rId5"/>
  </p:sldMasterIdLst>
  <p:notesMasterIdLst>
    <p:notesMasterId r:id="rId7"/>
  </p:notesMasterIdLst>
  <p:sldIdLst>
    <p:sldId id="277" r:id="rId6"/>
  </p:sldIdLst>
  <p:sldSz cx="10691813" cy="7559675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1" userDrawn="1">
          <p15:clr>
            <a:srgbClr val="A4A3A4"/>
          </p15:clr>
        </p15:guide>
        <p15:guide id="2" pos="3367" userDrawn="1">
          <p15:clr>
            <a:srgbClr val="A4A3A4"/>
          </p15:clr>
        </p15:guide>
        <p15:guide id="3" orient="horz" pos="4109" userDrawn="1">
          <p15:clr>
            <a:srgbClr val="A4A3A4"/>
          </p15:clr>
        </p15:guide>
        <p15:guide id="4" orient="horz" pos="4368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32D97D5-EA99-6749-E664-10E0BFDAD51E}" name="Marikit Klein-Smith" initials="MK" userId="S::marikit.kleinsmith@ey.com::eade0072-422b-4564-8854-a62116e5611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4C4CD"/>
    <a:srgbClr val="747480"/>
    <a:srgbClr val="2E2E38"/>
    <a:srgbClr val="FFE600"/>
    <a:srgbClr val="2D2E39"/>
    <a:srgbClr val="FAE80B"/>
    <a:srgbClr val="F6F6FA"/>
    <a:srgbClr val="4472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248" autoAdjust="0"/>
    <p:restoredTop sz="94660"/>
  </p:normalViewPr>
  <p:slideViewPr>
    <p:cSldViewPr snapToGrid="0">
      <p:cViewPr varScale="1">
        <p:scale>
          <a:sx n="70" d="100"/>
          <a:sy n="70" d="100"/>
        </p:scale>
        <p:origin x="1084" y="52"/>
      </p:cViewPr>
      <p:guideLst>
        <p:guide orient="horz" pos="2381"/>
        <p:guide pos="3367"/>
        <p:guide orient="horz" pos="4109"/>
        <p:guide orient="horz" pos="436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na Biel" userId="ee1a03a6-ae04-44d1-b823-d97f549c10ae" providerId="ADAL" clId="{365736AE-2B4D-4B7E-B896-ADD3D6B2BA35}"/>
    <pc:docChg chg="custSel modSld">
      <pc:chgData name="Anna Biel" userId="ee1a03a6-ae04-44d1-b823-d97f549c10ae" providerId="ADAL" clId="{365736AE-2B4D-4B7E-B896-ADD3D6B2BA35}" dt="2025-02-14T12:00:08.415" v="13" actId="1076"/>
      <pc:docMkLst>
        <pc:docMk/>
      </pc:docMkLst>
      <pc:sldChg chg="addSp modSp mod">
        <pc:chgData name="Anna Biel" userId="ee1a03a6-ae04-44d1-b823-d97f549c10ae" providerId="ADAL" clId="{365736AE-2B4D-4B7E-B896-ADD3D6B2BA35}" dt="2025-02-14T12:00:08.415" v="13" actId="1076"/>
        <pc:sldMkLst>
          <pc:docMk/>
          <pc:sldMk cId="1402642887" sldId="277"/>
        </pc:sldMkLst>
        <pc:spChg chg="mod">
          <ac:chgData name="Anna Biel" userId="ee1a03a6-ae04-44d1-b823-d97f549c10ae" providerId="ADAL" clId="{365736AE-2B4D-4B7E-B896-ADD3D6B2BA35}" dt="2025-02-14T10:27:18.047" v="4" actId="1036"/>
          <ac:spMkLst>
            <pc:docMk/>
            <pc:sldMk cId="1402642887" sldId="277"/>
            <ac:spMk id="4" creationId="{6A93213F-C442-1A07-2609-EF42D2616734}"/>
          </ac:spMkLst>
        </pc:spChg>
        <pc:spChg chg="mod">
          <ac:chgData name="Anna Biel" userId="ee1a03a6-ae04-44d1-b823-d97f549c10ae" providerId="ADAL" clId="{365736AE-2B4D-4B7E-B896-ADD3D6B2BA35}" dt="2025-02-14T10:27:18.047" v="4" actId="1036"/>
          <ac:spMkLst>
            <pc:docMk/>
            <pc:sldMk cId="1402642887" sldId="277"/>
            <ac:spMk id="11" creationId="{71978308-D202-DBC5-98CF-8C8B570442F8}"/>
          </ac:spMkLst>
        </pc:spChg>
        <pc:picChg chg="add mod">
          <ac:chgData name="Anna Biel" userId="ee1a03a6-ae04-44d1-b823-d97f549c10ae" providerId="ADAL" clId="{365736AE-2B4D-4B7E-B896-ADD3D6B2BA35}" dt="2025-02-14T10:27:59.459" v="7" actId="1076"/>
          <ac:picMkLst>
            <pc:docMk/>
            <pc:sldMk cId="1402642887" sldId="277"/>
            <ac:picMk id="3" creationId="{F607639F-3825-179F-7E24-46908538CB9E}"/>
          </ac:picMkLst>
        </pc:picChg>
        <pc:picChg chg="add mod">
          <ac:chgData name="Anna Biel" userId="ee1a03a6-ae04-44d1-b823-d97f549c10ae" providerId="ADAL" clId="{365736AE-2B4D-4B7E-B896-ADD3D6B2BA35}" dt="2025-02-14T12:00:08.415" v="13" actId="1076"/>
          <ac:picMkLst>
            <pc:docMk/>
            <pc:sldMk cId="1402642887" sldId="277"/>
            <ac:picMk id="14" creationId="{95C4C7D3-D659-F544-44D2-D286415FDF3A}"/>
          </ac:picMkLst>
        </pc:picChg>
        <pc:cxnChg chg="mod">
          <ac:chgData name="Anna Biel" userId="ee1a03a6-ae04-44d1-b823-d97f549c10ae" providerId="ADAL" clId="{365736AE-2B4D-4B7E-B896-ADD3D6B2BA35}" dt="2025-02-14T10:27:12.006" v="2" actId="554"/>
          <ac:cxnSpMkLst>
            <pc:docMk/>
            <pc:sldMk cId="1402642887" sldId="277"/>
            <ac:cxnSpMk id="12" creationId="{326FACFB-26DE-0925-A2A8-9C2E4E863C04}"/>
          </ac:cxnSpMkLst>
        </pc:cxnChg>
        <pc:cxnChg chg="mod">
          <ac:chgData name="Anna Biel" userId="ee1a03a6-ae04-44d1-b823-d97f549c10ae" providerId="ADAL" clId="{365736AE-2B4D-4B7E-B896-ADD3D6B2BA35}" dt="2025-02-14T10:27:12.006" v="2" actId="554"/>
          <ac:cxnSpMkLst>
            <pc:docMk/>
            <pc:sldMk cId="1402642887" sldId="277"/>
            <ac:cxnSpMk id="13" creationId="{E8B2BA2E-06CA-3778-D428-0CC3E4F7F0D8}"/>
          </ac:cxnSpMkLst>
        </pc:cxn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9A6EE5-A575-49BE-94AC-084D560828E8}" type="datetimeFigureOut">
              <a:rPr lang="en-GB" smtClean="0"/>
              <a:t>24/03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46188" y="1143000"/>
            <a:ext cx="4365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5ABD20-FD9C-4D04-9F28-FDC6210EEA8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97743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95507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1pPr>
    <a:lvl2pPr marL="497754" algn="l" defTabSz="995507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2pPr>
    <a:lvl3pPr marL="995507" algn="l" defTabSz="995507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3pPr>
    <a:lvl4pPr marL="1493261" algn="l" defTabSz="995507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4pPr>
    <a:lvl5pPr marL="1991015" algn="l" defTabSz="995507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5pPr>
    <a:lvl6pPr marL="2488768" algn="l" defTabSz="995507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6pPr>
    <a:lvl7pPr marL="2986522" algn="l" defTabSz="995507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7pPr>
    <a:lvl8pPr marL="3484275" algn="l" defTabSz="995507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8pPr>
    <a:lvl9pPr marL="3982029" algn="l" defTabSz="995507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7" Type="http://schemas.openxmlformats.org/officeDocument/2006/relationships/image" Target="../media/image20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9.png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/>
        </p:nvSpPr>
        <p:spPr>
          <a:xfrm>
            <a:off x="436596" y="877070"/>
            <a:ext cx="4321490" cy="3947923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78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679727" y="2154167"/>
            <a:ext cx="3794294" cy="1079940"/>
          </a:xfrm>
        </p:spPr>
        <p:txBody>
          <a:bodyPr/>
          <a:lstStyle>
            <a:lvl1pPr>
              <a:defRPr sz="2630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679727" y="3357826"/>
            <a:ext cx="3794294" cy="1153377"/>
          </a:xfrm>
        </p:spPr>
        <p:txBody>
          <a:bodyPr/>
          <a:lstStyle>
            <a:lvl1pPr marL="0" indent="0" algn="l">
              <a:spcAft>
                <a:spcPts val="1052"/>
              </a:spcAft>
              <a:buNone/>
              <a:defRPr sz="1753">
                <a:solidFill>
                  <a:schemeClr val="tx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402" b="1">
                <a:solidFill>
                  <a:srgbClr val="404040"/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/>
        </p:nvSpPr>
        <p:spPr>
          <a:xfrm>
            <a:off x="404928" y="6178696"/>
            <a:ext cx="916003" cy="21779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052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68532" y="6635041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68532" y="6852878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4927" y="6519798"/>
            <a:ext cx="504862" cy="634933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789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/>
        </p:nvCxnSpPr>
        <p:spPr>
          <a:xfrm>
            <a:off x="1168532" y="6293181"/>
            <a:ext cx="7118994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4">
            <a:extLst>
              <a:ext uri="{FF2B5EF4-FFF2-40B4-BE49-F238E27FC236}">
                <a16:creationId xmlns:a16="http://schemas.microsoft.com/office/drawing/2014/main" id="{6B891F47-1BBE-4926-81DF-B17907D2F8E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0A2A4AEF-C603-4360-9387-8879E7186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54797EE6-BAEA-4DA7-95C2-6B09B77D31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</p:spTree>
    <p:extLst>
      <p:ext uri="{BB962C8B-B14F-4D97-AF65-F5344CB8AC3E}">
        <p14:creationId xmlns:p14="http://schemas.microsoft.com/office/powerpoint/2010/main" val="2413420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9228" y="3143275"/>
            <a:ext cx="3898482" cy="1325333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155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12574" marR="0" lvl="0" indent="-312574" defTabSz="88341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84443D1-37A3-4969-A6D3-4E99E05604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24/03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AB04F4-59F4-4102-9BBD-DB62B48E184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99AB0A-887B-46B8-BA72-781970F002C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4111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58102" y="0"/>
            <a:ext cx="5233711" cy="755967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4046" y="2842586"/>
            <a:ext cx="3977506" cy="1163723"/>
          </a:xfrm>
        </p:spPr>
        <p:txBody>
          <a:bodyPr/>
          <a:lstStyle>
            <a:lvl1pPr marL="0" indent="0">
              <a:buNone/>
              <a:defRPr sz="2630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4046" y="4233312"/>
            <a:ext cx="3977506" cy="1163723"/>
          </a:xfrm>
        </p:spPr>
        <p:txBody>
          <a:bodyPr/>
          <a:lstStyle>
            <a:lvl1pPr marL="0" indent="0">
              <a:buNone/>
              <a:defRPr sz="1402"/>
            </a:lvl1pPr>
          </a:lstStyle>
          <a:p>
            <a:pPr lvl="0"/>
            <a:r>
              <a:rPr lang="en-IN" dirty="0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6DB61-969F-46BA-942C-3600269FA4D1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24/03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7C562FF-E912-4424-B259-AED677C026A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2C1B82-1A85-4CFD-98C3-C21698A96B6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38097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534590" y="1254347"/>
            <a:ext cx="4345237" cy="4704081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IN" dirty="0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52455" y="4203444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52455" y="4470913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366796" y="3944174"/>
            <a:ext cx="682755" cy="858658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789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66796" y="1254347"/>
            <a:ext cx="4790427" cy="41205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66796" y="1802295"/>
            <a:ext cx="4790427" cy="1776440"/>
          </a:xfrm>
        </p:spPr>
        <p:txBody>
          <a:bodyPr/>
          <a:lstStyle>
            <a:lvl1pPr marL="0" indent="0">
              <a:buNone/>
              <a:defRPr sz="1402"/>
            </a:lvl1pPr>
          </a:lstStyle>
          <a:p>
            <a:pPr lvl="0"/>
            <a:r>
              <a:rPr lang="en-US" dirty="0"/>
              <a:t>Content EY Interstate Light, 16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5822E28-B24F-4CF6-8F50-70ED7C22A114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24/03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65E1CD-A05B-41DC-B488-E4BA204E7AE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16ABDB-CF45-4001-9487-F3BA3DD8DA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67758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D06B42-27A8-4223-AE57-EB729EB5F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24/03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1F4AD2-0FC3-4A7D-B553-FC19C918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E89B92-9E6D-4E4B-A5F6-7BC8B1612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09811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26697" y="2271027"/>
            <a:ext cx="4638420" cy="333507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454" dirty="0" smtClean="0">
                <a:latin typeface="Georgia" panose="02040502050405020303" pitchFamily="18" charset="0"/>
              </a:defRPr>
            </a:lvl1pPr>
          </a:lstStyle>
          <a:p>
            <a:pPr marL="312574" lvl="0" indent="-312574" algn="ctr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26697" y="6070093"/>
            <a:ext cx="4638420" cy="349255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402" dirty="0" smtClean="0">
                <a:solidFill>
                  <a:srgbClr val="FFE600"/>
                </a:solidFill>
                <a:latin typeface="+mn-lt"/>
              </a:defRPr>
            </a:lvl1pPr>
          </a:lstStyle>
          <a:p>
            <a:pPr marL="312574" lvl="0" indent="-312574" algn="ctr">
              <a:spcBef>
                <a:spcPts val="0"/>
              </a:spcBef>
              <a:spcAft>
                <a:spcPts val="526"/>
              </a:spcAft>
            </a:pPr>
            <a:r>
              <a:rPr lang="en-US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26697" y="6414058"/>
            <a:ext cx="4638420" cy="349255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402" dirty="0" smtClean="0">
                <a:latin typeface="+mn-lt"/>
              </a:defRPr>
            </a:lvl1pPr>
          </a:lstStyle>
          <a:p>
            <a:pPr marL="312574" lvl="0" indent="-312574" algn="ctr">
              <a:spcBef>
                <a:spcPts val="0"/>
              </a:spcBef>
              <a:spcAft>
                <a:spcPts val="526"/>
              </a:spcAft>
            </a:pPr>
            <a:r>
              <a:rPr lang="en-US" dirty="0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/>
        </p:nvSpPr>
        <p:spPr>
          <a:xfrm>
            <a:off x="4321112" y="1080034"/>
            <a:ext cx="2049589" cy="9729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9817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17807034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/>
        </p:nvSpPr>
        <p:spPr>
          <a:xfrm>
            <a:off x="418397" y="1641266"/>
            <a:ext cx="2049589" cy="946710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9817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9950" y="2785290"/>
            <a:ext cx="4638420" cy="1984167"/>
          </a:xfrm>
        </p:spPr>
        <p:txBody>
          <a:bodyPr lIns="90000" tIns="46800" rIns="90000" bIns="46800"/>
          <a:lstStyle>
            <a:lvl1pPr marL="0" indent="0">
              <a:buNone/>
              <a:defRPr lang="en-US" sz="2454" dirty="0" smtClean="0">
                <a:latin typeface="Georgia" panose="02040502050405020303" pitchFamily="18" charset="0"/>
              </a:defRPr>
            </a:lvl1pPr>
          </a:lstStyle>
          <a:p>
            <a:pPr marL="312574" lvl="0" indent="-312574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950" y="5106766"/>
            <a:ext cx="4638420" cy="349255"/>
          </a:xfrm>
        </p:spPr>
        <p:txBody>
          <a:bodyPr lIns="90000" tIns="46800" rIns="90000" bIns="46800"/>
          <a:lstStyle>
            <a:lvl1pPr marL="0" indent="0" algn="l" defTabSz="801472" rtl="0" eaLnBrk="1" latinLnBrk="0" hangingPunct="1">
              <a:spcBef>
                <a:spcPts val="0"/>
              </a:spcBef>
              <a:spcAft>
                <a:spcPts val="526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402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12574" indent="0">
              <a:buNone/>
              <a:defRPr lang="en-US" sz="1753" smtClean="0">
                <a:latin typeface="+mn-lt"/>
              </a:defRPr>
            </a:lvl2pPr>
            <a:lvl3pPr>
              <a:defRPr lang="en-US" sz="1578" smtClean="0">
                <a:latin typeface="+mn-lt"/>
              </a:defRPr>
            </a:lvl3pPr>
            <a:lvl4pPr>
              <a:defRPr lang="en-US" sz="1402" smtClean="0">
                <a:latin typeface="+mn-lt"/>
              </a:defRPr>
            </a:lvl4pPr>
            <a:lvl5pPr>
              <a:defRPr lang="en-IN" sz="1402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950" y="5480094"/>
            <a:ext cx="4638420" cy="349255"/>
          </a:xfrm>
        </p:spPr>
        <p:txBody>
          <a:bodyPr lIns="90000" tIns="46800" rIns="90000" bIns="46800"/>
          <a:lstStyle>
            <a:lvl1pPr marL="0" indent="0" algn="l" defTabSz="801472" rtl="0" eaLnBrk="1" latinLnBrk="0" hangingPunct="1">
              <a:spcBef>
                <a:spcPts val="0"/>
              </a:spcBef>
              <a:spcAft>
                <a:spcPts val="526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402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12574" indent="0">
              <a:buNone/>
              <a:defRPr lang="en-US" sz="1753" smtClean="0">
                <a:latin typeface="+mn-lt"/>
              </a:defRPr>
            </a:lvl2pPr>
            <a:lvl3pPr>
              <a:defRPr lang="en-US" sz="1578" smtClean="0">
                <a:latin typeface="+mn-lt"/>
              </a:defRPr>
            </a:lvl3pPr>
            <a:lvl4pPr>
              <a:defRPr lang="en-US" sz="1402" smtClean="0">
                <a:latin typeface="+mn-lt"/>
              </a:defRPr>
            </a:lvl4pPr>
            <a:lvl5pPr>
              <a:defRPr lang="en-IN" sz="1402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9038527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4591" y="1254346"/>
            <a:ext cx="7221232" cy="532947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12574">
              <a:defRPr>
                <a:solidFill>
                  <a:schemeClr val="bg1"/>
                </a:solidFill>
              </a:defRPr>
            </a:lvl2pPr>
            <a:lvl3pPr marL="625148">
              <a:defRPr>
                <a:solidFill>
                  <a:schemeClr val="bg1"/>
                </a:solidFill>
              </a:defRPr>
            </a:lvl3pPr>
            <a:lvl4pPr marL="937722">
              <a:defRPr>
                <a:solidFill>
                  <a:schemeClr val="bg1"/>
                </a:solidFill>
              </a:defRPr>
            </a:lvl4pPr>
            <a:lvl5pPr marL="1250296"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DAEB49-9ADD-490C-B904-979B3953B8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24/03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528C68-2511-4745-B448-A5AA41E7BF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5C8157-0191-4E69-819F-DB4437686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48311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13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B88B559-CD59-4D3D-87C0-5D51BCF9B7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24/03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6FB98F-FBCE-4F2C-978B-A5576B5774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A95690-F0A7-4101-82DB-B17CE6B7A4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56273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13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4591" y="1254345"/>
            <a:ext cx="4722218" cy="5329472"/>
          </a:xfrm>
        </p:spPr>
        <p:txBody>
          <a:bodyPr/>
          <a:lstStyle>
            <a:lvl1pPr>
              <a:defRPr sz="1753">
                <a:solidFill>
                  <a:schemeClr val="bg1"/>
                </a:solidFill>
              </a:defRPr>
            </a:lvl1pPr>
            <a:lvl2pPr>
              <a:defRPr sz="1578">
                <a:solidFill>
                  <a:schemeClr val="bg1"/>
                </a:solidFill>
              </a:defRPr>
            </a:lvl2pPr>
            <a:lvl3pPr>
              <a:defRPr sz="1402">
                <a:solidFill>
                  <a:schemeClr val="bg1"/>
                </a:solidFill>
              </a:defRPr>
            </a:lvl3pPr>
            <a:lvl4pPr>
              <a:defRPr sz="1227">
                <a:solidFill>
                  <a:schemeClr val="bg1"/>
                </a:solidFill>
              </a:defRPr>
            </a:lvl4pPr>
            <a:lvl5pPr>
              <a:defRPr sz="1052">
                <a:solidFill>
                  <a:schemeClr val="bg1"/>
                </a:solidFill>
              </a:defRPr>
            </a:lvl5pPr>
            <a:lvl6pPr>
              <a:defRPr sz="1578"/>
            </a:lvl6pPr>
            <a:lvl7pPr>
              <a:defRPr sz="1578"/>
            </a:lvl7pPr>
            <a:lvl8pPr>
              <a:defRPr sz="1578"/>
            </a:lvl8pPr>
            <a:lvl9pPr>
              <a:defRPr sz="157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35005" y="1254345"/>
            <a:ext cx="4722218" cy="5329472"/>
          </a:xfrm>
        </p:spPr>
        <p:txBody>
          <a:bodyPr/>
          <a:lstStyle>
            <a:lvl1pPr>
              <a:defRPr sz="1753">
                <a:solidFill>
                  <a:schemeClr val="bg1"/>
                </a:solidFill>
              </a:defRPr>
            </a:lvl1pPr>
            <a:lvl2pPr>
              <a:defRPr sz="1578">
                <a:solidFill>
                  <a:schemeClr val="bg1"/>
                </a:solidFill>
              </a:defRPr>
            </a:lvl2pPr>
            <a:lvl3pPr>
              <a:defRPr sz="1402">
                <a:solidFill>
                  <a:schemeClr val="bg1"/>
                </a:solidFill>
              </a:defRPr>
            </a:lvl3pPr>
            <a:lvl4pPr>
              <a:defRPr sz="1227">
                <a:solidFill>
                  <a:schemeClr val="bg1"/>
                </a:solidFill>
              </a:defRPr>
            </a:lvl4pPr>
            <a:lvl5pPr>
              <a:defRPr sz="1052">
                <a:solidFill>
                  <a:schemeClr val="bg1"/>
                </a:solidFill>
              </a:defRPr>
            </a:lvl5pPr>
            <a:lvl6pPr>
              <a:defRPr sz="1578"/>
            </a:lvl6pPr>
            <a:lvl7pPr>
              <a:defRPr sz="1578"/>
            </a:lvl7pPr>
            <a:lvl8pPr>
              <a:defRPr sz="1578"/>
            </a:lvl8pPr>
            <a:lvl9pPr>
              <a:defRPr sz="157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20B9B26-E95B-4DC1-A613-4C0C0933C7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24/03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D7373D8-2AB5-4625-822C-B1F2B5CDC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6E3B4B-D68B-4AFA-A20D-2ECE69120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49097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984" y="2060712"/>
            <a:ext cx="4727129" cy="4691535"/>
          </a:xfrm>
        </p:spPr>
        <p:txBody>
          <a:bodyPr/>
          <a:lstStyle>
            <a:lvl1pPr>
              <a:defRPr sz="1753">
                <a:solidFill>
                  <a:schemeClr val="bg1"/>
                </a:solidFill>
              </a:defRPr>
            </a:lvl1pPr>
            <a:lvl2pPr>
              <a:defRPr sz="1578">
                <a:solidFill>
                  <a:schemeClr val="bg1"/>
                </a:solidFill>
              </a:defRPr>
            </a:lvl2pPr>
            <a:lvl3pPr>
              <a:defRPr sz="1402">
                <a:solidFill>
                  <a:schemeClr val="bg1"/>
                </a:solidFill>
              </a:defRPr>
            </a:lvl3pPr>
            <a:lvl4pPr>
              <a:defRPr sz="1227">
                <a:solidFill>
                  <a:schemeClr val="bg1"/>
                </a:solidFill>
              </a:defRPr>
            </a:lvl4pPr>
            <a:lvl5pPr>
              <a:defRPr sz="1052">
                <a:solidFill>
                  <a:schemeClr val="bg1"/>
                </a:solidFill>
              </a:defRPr>
            </a:lvl5pPr>
            <a:lvl6pPr>
              <a:defRPr sz="1578"/>
            </a:lvl6pPr>
            <a:lvl7pPr>
              <a:defRPr sz="1578"/>
            </a:lvl7pPr>
            <a:lvl8pPr>
              <a:defRPr sz="1578"/>
            </a:lvl8pPr>
            <a:lvl9pPr>
              <a:defRPr sz="157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33957" y="2060712"/>
            <a:ext cx="4727129" cy="4691535"/>
          </a:xfrm>
        </p:spPr>
        <p:txBody>
          <a:bodyPr/>
          <a:lstStyle>
            <a:lvl1pPr>
              <a:defRPr sz="1753">
                <a:solidFill>
                  <a:schemeClr val="bg1"/>
                </a:solidFill>
              </a:defRPr>
            </a:lvl1pPr>
            <a:lvl2pPr>
              <a:defRPr sz="1578">
                <a:solidFill>
                  <a:schemeClr val="bg1"/>
                </a:solidFill>
              </a:defRPr>
            </a:lvl2pPr>
            <a:lvl3pPr>
              <a:defRPr sz="1402">
                <a:solidFill>
                  <a:schemeClr val="bg1"/>
                </a:solidFill>
              </a:defRPr>
            </a:lvl3pPr>
            <a:lvl4pPr>
              <a:defRPr sz="1227">
                <a:solidFill>
                  <a:schemeClr val="bg1"/>
                </a:solidFill>
              </a:defRPr>
            </a:lvl4pPr>
            <a:lvl5pPr>
              <a:defRPr sz="1052">
                <a:solidFill>
                  <a:schemeClr val="bg1"/>
                </a:solidFill>
              </a:defRPr>
            </a:lvl5pPr>
            <a:lvl6pPr>
              <a:defRPr sz="1578"/>
            </a:lvl6pPr>
            <a:lvl7pPr>
              <a:defRPr sz="1578"/>
            </a:lvl7pPr>
            <a:lvl8pPr>
              <a:defRPr sz="1578"/>
            </a:lvl8pPr>
            <a:lvl9pPr>
              <a:defRPr sz="157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34591" y="1254346"/>
            <a:ext cx="4727129" cy="706363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33957" y="1254346"/>
            <a:ext cx="4727129" cy="706363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13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9FCCF0-19BC-4024-9BCA-E14DB77EAF2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24/03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B54F7E-BDC4-4386-B2E2-1FC66609D14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4FBF9A-EC9A-41E4-A24C-ECB5DC15CCD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71602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F4B0007-DA02-48C7-9137-9386DFC24A9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0691813" cy="7559675"/>
          </a:xfrm>
          <a:prstGeom prst="rect">
            <a:avLst/>
          </a:prstGeom>
        </p:spPr>
      </p:pic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/>
        </p:nvSpPr>
        <p:spPr>
          <a:xfrm>
            <a:off x="436596" y="877070"/>
            <a:ext cx="4321490" cy="3947923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78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679727" y="2154167"/>
            <a:ext cx="3794294" cy="1079940"/>
          </a:xfrm>
        </p:spPr>
        <p:txBody>
          <a:bodyPr/>
          <a:lstStyle>
            <a:lvl1pPr>
              <a:defRPr sz="2630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679727" y="3357826"/>
            <a:ext cx="3794294" cy="1153377"/>
          </a:xfrm>
        </p:spPr>
        <p:txBody>
          <a:bodyPr/>
          <a:lstStyle>
            <a:lvl1pPr marL="0" indent="0" algn="l">
              <a:spcAft>
                <a:spcPts val="1052"/>
              </a:spcAft>
              <a:buNone/>
              <a:defRPr sz="1753">
                <a:solidFill>
                  <a:schemeClr val="tx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402" b="1">
                <a:solidFill>
                  <a:srgbClr val="404040"/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</p:spTree>
    <p:extLst>
      <p:ext uri="{BB962C8B-B14F-4D97-AF65-F5344CB8AC3E}">
        <p14:creationId xmlns:p14="http://schemas.microsoft.com/office/powerpoint/2010/main" val="2942201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8EDF149-816A-4257-A64D-E23E91A506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24/03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78256F-B716-4FA1-B0CC-85D20C72F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344F6A-D6D0-4CE3-8495-873C004D38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77794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139B669-D18F-448E-A005-0A353671C9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24/03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031300-352D-4FEE-9216-28FB241372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ADEB71-FD7D-4974-99DD-0F48E04667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37295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570B882-5FC5-4C48-9562-890886DDED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24/03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92E7899-FE60-4FDA-8608-58147D091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A32B5C-3285-477F-B755-A6F2F0F4D3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08222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37416E9-5919-4213-81D7-5E74B3B61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24/03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DFF1B2-A745-40FB-B885-B3638A4F41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C9AD96-7B7E-4E05-90E8-1F98943B0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40678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9717513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0691813" cy="755967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11B3654-4C35-482F-B580-02C23F975B9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24/03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62EFEC5-10C4-4E79-B06E-F14B8F305F9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C05763-C066-4818-A1DF-64ED4D64BE2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86259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129049-E3D5-4C0A-BB1F-72BEDB1FB5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3" y="0"/>
            <a:ext cx="10686247" cy="7559675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32734" y="792717"/>
            <a:ext cx="4099931" cy="5743129"/>
          </a:xfrm>
        </p:spPr>
        <p:txBody>
          <a:bodyPr/>
          <a:lstStyle>
            <a:lvl1pPr marL="0" indent="0" algn="l" defTabSz="872436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052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54451" indent="-154451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0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65582" indent="-165582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01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41557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3">
            <a:extLst>
              <a:ext uri="{FF2B5EF4-FFF2-40B4-BE49-F238E27FC236}">
                <a16:creationId xmlns:a16="http://schemas.microsoft.com/office/drawing/2014/main" id="{501A2F11-32A0-4526-A5F7-F4382DA5B47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5" y="0"/>
            <a:ext cx="10686247" cy="7559675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32734" y="792717"/>
            <a:ext cx="4099931" cy="5743129"/>
          </a:xfrm>
        </p:spPr>
        <p:txBody>
          <a:bodyPr/>
          <a:lstStyle>
            <a:lvl1pPr marL="0" indent="0" algn="l" defTabSz="872436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052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54451" indent="-154451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0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65582" indent="-165582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01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6288940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83BDE2E-2BCF-4140-945E-7D5610CDE4C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3" y="0"/>
            <a:ext cx="10686252" cy="7559675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32734" y="792717"/>
            <a:ext cx="4099931" cy="5743129"/>
          </a:xfrm>
        </p:spPr>
        <p:txBody>
          <a:bodyPr/>
          <a:lstStyle>
            <a:lvl1pPr marL="0" indent="0" algn="l" defTabSz="872436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052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54451" indent="-154451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0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65582" indent="-165582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01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8257875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166529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/>
        </p:nvGrpSpPr>
        <p:grpSpPr>
          <a:xfrm>
            <a:off x="436597" y="6422761"/>
            <a:ext cx="3399074" cy="628534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moveTo>
                    <a:pt x="25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moveTo>
                    <a:pt x="25" y="12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53"/>
                  </a:lnTo>
                  <a:lnTo>
                    <a:pt x="25" y="12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moveTo>
                    <a:pt x="1" y="53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lose/>
                  <a:close/>
                  <a:lnTo>
                    <a:pt x="1" y="53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moveTo>
                    <a:pt x="26" y="20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moveTo>
                    <a:pt x="25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moveTo>
                    <a:pt x="24" y="22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39"/>
                  </a:lnTo>
                  <a:lnTo>
                    <a:pt x="24" y="22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moveTo>
                    <a:pt x="25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close/>
                  <a:close/>
                  <a:lnTo>
                    <a:pt x="26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moveTo>
                    <a:pt x="27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moveTo>
                    <a:pt x="24" y="26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53"/>
                  </a:lnTo>
                  <a:lnTo>
                    <a:pt x="24" y="26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moveTo>
                    <a:pt x="27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04" name="Group 4">
            <a:extLst>
              <a:ext uri="{FF2B5EF4-FFF2-40B4-BE49-F238E27FC236}">
                <a16:creationId xmlns:a16="http://schemas.microsoft.com/office/drawing/2014/main" id="{89402076-F24D-44C5-B8A7-1127F9C4B9B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105" name="Freeform 5">
              <a:extLst>
                <a:ext uri="{FF2B5EF4-FFF2-40B4-BE49-F238E27FC236}">
                  <a16:creationId xmlns:a16="http://schemas.microsoft.com/office/drawing/2014/main" id="{A239DDBF-0740-4B20-9CF3-A05C2A0BF5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06" name="Freeform 6">
              <a:extLst>
                <a:ext uri="{FF2B5EF4-FFF2-40B4-BE49-F238E27FC236}">
                  <a16:creationId xmlns:a16="http://schemas.microsoft.com/office/drawing/2014/main" id="{380EECCA-3396-425E-AB04-F11ABB1B50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  <p:sp>
        <p:nvSpPr>
          <p:cNvPr id="18" name="Title 1"/>
          <p:cNvSpPr>
            <a:spLocks noGrp="1"/>
          </p:cNvSpPr>
          <p:nvPr>
            <p:ph type="ctrTitle"/>
          </p:nvPr>
        </p:nvSpPr>
        <p:spPr>
          <a:xfrm>
            <a:off x="828184" y="2379158"/>
            <a:ext cx="4193057" cy="948432"/>
          </a:xfrm>
          <a:prstGeom prst="rect">
            <a:avLst/>
          </a:prstGeom>
        </p:spPr>
        <p:txBody>
          <a:bodyPr/>
          <a:lstStyle>
            <a:lvl1pPr>
              <a:defRPr sz="263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828353" y="3527770"/>
            <a:ext cx="4214220" cy="7118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753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402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/>
        </p:nvSpPr>
        <p:spPr>
          <a:xfrm>
            <a:off x="428928" y="797699"/>
            <a:ext cx="4979329" cy="3806176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578" dirty="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28928" y="4433241"/>
            <a:ext cx="132918" cy="167163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578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679020" y="4433241"/>
            <a:ext cx="132918" cy="167163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578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929008" y="4433241"/>
            <a:ext cx="132918" cy="167163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578" dirty="0"/>
          </a:p>
        </p:txBody>
      </p:sp>
    </p:spTree>
    <p:extLst>
      <p:ext uri="{BB962C8B-B14F-4D97-AF65-F5344CB8AC3E}">
        <p14:creationId xmlns:p14="http://schemas.microsoft.com/office/powerpoint/2010/main" val="34429326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/>
        </p:nvSpPr>
        <p:spPr>
          <a:xfrm>
            <a:off x="436596" y="877070"/>
            <a:ext cx="4321490" cy="3947923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78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679727" y="2154167"/>
            <a:ext cx="3794294" cy="1079940"/>
          </a:xfrm>
        </p:spPr>
        <p:txBody>
          <a:bodyPr/>
          <a:lstStyle>
            <a:lvl1pPr>
              <a:defRPr sz="263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679727" y="3357826"/>
            <a:ext cx="3794294" cy="1153377"/>
          </a:xfrm>
        </p:spPr>
        <p:txBody>
          <a:bodyPr/>
          <a:lstStyle>
            <a:lvl1pPr marL="0" indent="0" algn="l">
              <a:spcAft>
                <a:spcPts val="1052"/>
              </a:spcAft>
              <a:buNone/>
              <a:defRPr sz="1753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402" b="1">
                <a:solidFill>
                  <a:srgbClr val="404040"/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</p:spTree>
    <p:extLst>
      <p:ext uri="{BB962C8B-B14F-4D97-AF65-F5344CB8AC3E}">
        <p14:creationId xmlns:p14="http://schemas.microsoft.com/office/powerpoint/2010/main" val="28370001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/>
        </p:nvSpPr>
        <p:spPr>
          <a:xfrm>
            <a:off x="436596" y="877070"/>
            <a:ext cx="4321490" cy="3947923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78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679727" y="2154167"/>
            <a:ext cx="3794294" cy="1079940"/>
          </a:xfrm>
        </p:spPr>
        <p:txBody>
          <a:bodyPr/>
          <a:lstStyle>
            <a:lvl1pPr>
              <a:defRPr sz="263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679727" y="3357826"/>
            <a:ext cx="3794294" cy="1153377"/>
          </a:xfrm>
        </p:spPr>
        <p:txBody>
          <a:bodyPr/>
          <a:lstStyle>
            <a:lvl1pPr marL="0" indent="0" algn="l">
              <a:spcAft>
                <a:spcPts val="1052"/>
              </a:spcAft>
              <a:buNone/>
              <a:defRPr sz="1753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402" b="1">
                <a:solidFill>
                  <a:srgbClr val="404040"/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/>
        </p:nvSpPr>
        <p:spPr>
          <a:xfrm>
            <a:off x="404928" y="6178696"/>
            <a:ext cx="916003" cy="21779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052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68532" y="6635041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68532" y="6852878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4927" y="6519798"/>
            <a:ext cx="504862" cy="634933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789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/>
        </p:nvCxnSpPr>
        <p:spPr>
          <a:xfrm>
            <a:off x="1168532" y="6293181"/>
            <a:ext cx="7118994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</p:spTree>
    <p:extLst>
      <p:ext uri="{BB962C8B-B14F-4D97-AF65-F5344CB8AC3E}">
        <p14:creationId xmlns:p14="http://schemas.microsoft.com/office/powerpoint/2010/main" val="22186171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/>
        </p:nvGrpSpPr>
        <p:grpSpPr>
          <a:xfrm>
            <a:off x="436597" y="6422761"/>
            <a:ext cx="3399074" cy="628534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moveTo>
                    <a:pt x="25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moveTo>
                    <a:pt x="25" y="12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53"/>
                  </a:lnTo>
                  <a:lnTo>
                    <a:pt x="25" y="12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moveTo>
                    <a:pt x="1" y="53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lose/>
                  <a:close/>
                  <a:lnTo>
                    <a:pt x="1" y="53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moveTo>
                    <a:pt x="26" y="20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moveTo>
                    <a:pt x="25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moveTo>
                    <a:pt x="24" y="22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39"/>
                  </a:lnTo>
                  <a:lnTo>
                    <a:pt x="24" y="22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moveTo>
                    <a:pt x="25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close/>
                  <a:close/>
                  <a:lnTo>
                    <a:pt x="26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moveTo>
                    <a:pt x="27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moveTo>
                    <a:pt x="24" y="26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53"/>
                  </a:lnTo>
                  <a:lnTo>
                    <a:pt x="24" y="26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moveTo>
                    <a:pt x="27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/>
        </p:nvGrpSpPr>
        <p:grpSpPr>
          <a:xfrm>
            <a:off x="428928" y="965692"/>
            <a:ext cx="4255650" cy="3719734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78" dirty="0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78" dirty="0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78" dirty="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78" dirty="0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28184" y="2379158"/>
            <a:ext cx="3506369" cy="948432"/>
          </a:xfrm>
          <a:prstGeom prst="rect">
            <a:avLst/>
          </a:prstGeom>
        </p:spPr>
        <p:txBody>
          <a:bodyPr/>
          <a:lstStyle>
            <a:lvl1pPr>
              <a:defRPr sz="263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28352" y="3527770"/>
            <a:ext cx="3524067" cy="7118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753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402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83249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/>
        </p:nvGrpSpPr>
        <p:grpSpPr>
          <a:xfrm>
            <a:off x="436597" y="6422761"/>
            <a:ext cx="3399074" cy="628534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moveTo>
                    <a:pt x="25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moveTo>
                    <a:pt x="25" y="12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53"/>
                  </a:lnTo>
                  <a:lnTo>
                    <a:pt x="25" y="12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moveTo>
                    <a:pt x="1" y="53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lose/>
                  <a:close/>
                  <a:lnTo>
                    <a:pt x="1" y="53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moveTo>
                    <a:pt x="26" y="20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moveTo>
                    <a:pt x="25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moveTo>
                    <a:pt x="24" y="22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39"/>
                  </a:lnTo>
                  <a:lnTo>
                    <a:pt x="24" y="22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moveTo>
                    <a:pt x="25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close/>
                  <a:close/>
                  <a:lnTo>
                    <a:pt x="26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moveTo>
                    <a:pt x="27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moveTo>
                    <a:pt x="24" y="26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53"/>
                  </a:lnTo>
                  <a:lnTo>
                    <a:pt x="24" y="26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moveTo>
                    <a:pt x="27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  <p:sp>
        <p:nvSpPr>
          <p:cNvPr id="18" name="Title 1"/>
          <p:cNvSpPr>
            <a:spLocks noGrp="1"/>
          </p:cNvSpPr>
          <p:nvPr>
            <p:ph type="ctrTitle"/>
          </p:nvPr>
        </p:nvSpPr>
        <p:spPr>
          <a:xfrm>
            <a:off x="828184" y="2379158"/>
            <a:ext cx="4193057" cy="948432"/>
          </a:xfrm>
          <a:prstGeom prst="rect">
            <a:avLst/>
          </a:prstGeom>
        </p:spPr>
        <p:txBody>
          <a:bodyPr/>
          <a:lstStyle>
            <a:lvl1pPr>
              <a:defRPr sz="263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828353" y="3527770"/>
            <a:ext cx="4214220" cy="7118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753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402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/>
        </p:nvSpPr>
        <p:spPr>
          <a:xfrm>
            <a:off x="428928" y="797699"/>
            <a:ext cx="4979329" cy="3806176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578" dirty="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28928" y="4433241"/>
            <a:ext cx="132918" cy="167163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578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679020" y="4433241"/>
            <a:ext cx="132918" cy="167163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578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929008" y="4433241"/>
            <a:ext cx="132918" cy="167163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578" dirty="0"/>
          </a:p>
        </p:txBody>
      </p:sp>
    </p:spTree>
    <p:extLst>
      <p:ext uri="{BB962C8B-B14F-4D97-AF65-F5344CB8AC3E}">
        <p14:creationId xmlns:p14="http://schemas.microsoft.com/office/powerpoint/2010/main" val="2651623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534590" y="1254347"/>
            <a:ext cx="4345237" cy="4704081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IN" dirty="0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52455" y="4203444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52455" y="4470913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366796" y="3944174"/>
            <a:ext cx="682755" cy="858658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789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66796" y="1254347"/>
            <a:ext cx="4790427" cy="41205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66796" y="1802295"/>
            <a:ext cx="4790427" cy="1776440"/>
          </a:xfrm>
        </p:spPr>
        <p:txBody>
          <a:bodyPr/>
          <a:lstStyle>
            <a:lvl1pPr marL="0" indent="0">
              <a:buNone/>
              <a:defRPr sz="1402"/>
            </a:lvl1pPr>
          </a:lstStyle>
          <a:p>
            <a:pPr lvl="0"/>
            <a:r>
              <a:rPr lang="en-US" dirty="0"/>
              <a:t>Content EY Interstate Light, 16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661012-3455-4F88-94AD-14869D2D540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24/03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1FBA45-9D10-4CA1-B5FE-DF08BC4B79D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C45D8-BA71-4A92-82B2-C059AF6B670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572018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 sz="2104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4591" y="1254346"/>
            <a:ext cx="9622632" cy="54541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369FE1-2141-4E78-8B01-84E57EEFE0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24/03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4482B3-B946-42D6-98EA-72EE48EEB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060913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186502" y="1"/>
            <a:ext cx="3505313" cy="678596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2" y="324301"/>
            <a:ext cx="6525011" cy="650807"/>
          </a:xfrm>
        </p:spPr>
        <p:txBody>
          <a:bodyPr/>
          <a:lstStyle>
            <a:lvl1pPr>
              <a:defRPr sz="2104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4591" y="1254347"/>
            <a:ext cx="6398112" cy="963159"/>
          </a:xfrm>
        </p:spPr>
        <p:txBody>
          <a:bodyPr/>
          <a:lstStyle>
            <a:lvl1pPr marL="0" indent="0">
              <a:buNone/>
              <a:defRPr sz="1578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34591" y="2547892"/>
            <a:ext cx="3137961" cy="4238074"/>
          </a:xfrm>
        </p:spPr>
        <p:txBody>
          <a:bodyPr numCol="1"/>
          <a:lstStyle>
            <a:lvl1pPr marL="0" indent="0">
              <a:buNone/>
              <a:defRPr sz="1227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3794743" y="2547892"/>
            <a:ext cx="3137961" cy="1383139"/>
          </a:xfrm>
        </p:spPr>
        <p:txBody>
          <a:bodyPr numCol="1"/>
          <a:lstStyle>
            <a:lvl1pPr marL="0" indent="0">
              <a:buNone/>
              <a:defRPr sz="1227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794743" y="4670201"/>
            <a:ext cx="3137961" cy="2143076"/>
          </a:xfrm>
        </p:spPr>
        <p:txBody>
          <a:bodyPr numCol="1"/>
          <a:lstStyle>
            <a:lvl1pPr marL="0" indent="0">
              <a:buNone/>
              <a:defRPr sz="1578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6769932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73C7F4-1F66-48B4-8A7F-96C64986A20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24/03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8F1198-1F5C-4C8B-A7E4-2658430FBC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EA2D1B-5973-42E9-87B4-02C40C0EF1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668036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2089971" cy="755967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62416" y="324301"/>
            <a:ext cx="7793808" cy="650807"/>
          </a:xfrm>
        </p:spPr>
        <p:txBody>
          <a:bodyPr/>
          <a:lstStyle>
            <a:lvl1pPr>
              <a:defRPr sz="2104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362415" y="1254347"/>
            <a:ext cx="2404127" cy="5531619"/>
          </a:xfrm>
        </p:spPr>
        <p:txBody>
          <a:bodyPr/>
          <a:lstStyle>
            <a:lvl1pPr marL="0" indent="0">
              <a:buNone/>
              <a:defRPr sz="1578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019769" y="1254347"/>
            <a:ext cx="2457558" cy="5531619"/>
          </a:xfrm>
        </p:spPr>
        <p:txBody>
          <a:bodyPr numCol="1"/>
          <a:lstStyle>
            <a:lvl1pPr marL="0" indent="0">
              <a:buNone/>
              <a:defRPr sz="1227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730553" y="1254348"/>
            <a:ext cx="2426669" cy="3082239"/>
          </a:xfrm>
        </p:spPr>
        <p:txBody>
          <a:bodyPr numCol="1"/>
          <a:lstStyle>
            <a:lvl1pPr marL="0" indent="0">
              <a:buNone/>
              <a:defRPr sz="1227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/>
        </p:nvSpPr>
        <p:spPr bwMode="auto">
          <a:xfrm>
            <a:off x="2362416" y="1000626"/>
            <a:ext cx="7793808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8571DE-086F-444C-976E-D386CED54CF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24/03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178D09-F6E9-4981-B6E0-209D099207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E170B6-45D3-4E0A-A799-1F973EAAC5E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977487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/>
        </p:nvSpPr>
        <p:spPr>
          <a:xfrm>
            <a:off x="418397" y="1641266"/>
            <a:ext cx="2049589" cy="946710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9817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9950" y="2785290"/>
            <a:ext cx="4638420" cy="1984167"/>
          </a:xfrm>
        </p:spPr>
        <p:txBody>
          <a:bodyPr lIns="90000" tIns="46800" rIns="90000" bIns="46800"/>
          <a:lstStyle>
            <a:lvl1pPr marL="0" indent="0">
              <a:buNone/>
              <a:defRPr lang="en-US" sz="2454" dirty="0" smtClean="0">
                <a:latin typeface="Georgia" panose="02040502050405020303" pitchFamily="18" charset="0"/>
              </a:defRPr>
            </a:lvl1pPr>
          </a:lstStyle>
          <a:p>
            <a:pPr marL="312574" lvl="0" indent="-312574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950" y="5106766"/>
            <a:ext cx="4638420" cy="349255"/>
          </a:xfrm>
        </p:spPr>
        <p:txBody>
          <a:bodyPr lIns="90000" tIns="46800" rIns="90000" bIns="46800"/>
          <a:lstStyle>
            <a:lvl1pPr marL="0" indent="0" algn="l" defTabSz="801472" rtl="0" eaLnBrk="1" latinLnBrk="0" hangingPunct="1">
              <a:spcBef>
                <a:spcPts val="0"/>
              </a:spcBef>
              <a:spcAft>
                <a:spcPts val="526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402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12574" indent="0">
              <a:buNone/>
              <a:defRPr lang="en-US" sz="1753" smtClean="0">
                <a:latin typeface="+mn-lt"/>
              </a:defRPr>
            </a:lvl2pPr>
            <a:lvl3pPr>
              <a:defRPr lang="en-US" sz="1578" smtClean="0">
                <a:latin typeface="+mn-lt"/>
              </a:defRPr>
            </a:lvl3pPr>
            <a:lvl4pPr>
              <a:defRPr lang="en-US" sz="1402" smtClean="0">
                <a:latin typeface="+mn-lt"/>
              </a:defRPr>
            </a:lvl4pPr>
            <a:lvl5pPr>
              <a:defRPr lang="en-IN" sz="1402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950" y="5480094"/>
            <a:ext cx="4638420" cy="349255"/>
          </a:xfrm>
        </p:spPr>
        <p:txBody>
          <a:bodyPr lIns="90000" tIns="46800" rIns="90000" bIns="46800"/>
          <a:lstStyle>
            <a:lvl1pPr marL="0" indent="0" algn="l" defTabSz="801472" rtl="0" eaLnBrk="1" latinLnBrk="0" hangingPunct="1">
              <a:spcBef>
                <a:spcPts val="0"/>
              </a:spcBef>
              <a:spcAft>
                <a:spcPts val="526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402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12574" indent="0">
              <a:buNone/>
              <a:defRPr lang="en-US" sz="1753" smtClean="0">
                <a:latin typeface="+mn-lt"/>
              </a:defRPr>
            </a:lvl2pPr>
            <a:lvl3pPr>
              <a:defRPr lang="en-US" sz="1578" smtClean="0">
                <a:latin typeface="+mn-lt"/>
              </a:defRPr>
            </a:lvl3pPr>
            <a:lvl4pPr>
              <a:defRPr lang="en-US" sz="1402" smtClean="0">
                <a:latin typeface="+mn-lt"/>
              </a:defRPr>
            </a:lvl4pPr>
            <a:lvl5pPr>
              <a:defRPr lang="en-IN" sz="1402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66032296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26697" y="2271027"/>
            <a:ext cx="4638420" cy="333507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454" dirty="0" smtClean="0">
                <a:latin typeface="Georgia" panose="02040502050405020303" pitchFamily="18" charset="0"/>
              </a:defRPr>
            </a:lvl1pPr>
          </a:lstStyle>
          <a:p>
            <a:pPr marL="312574" lvl="0" indent="-312574" algn="ctr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26697" y="6070093"/>
            <a:ext cx="4638420" cy="349255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402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12574" lvl="0" indent="-312574" algn="ctr">
              <a:spcBef>
                <a:spcPts val="0"/>
              </a:spcBef>
              <a:spcAft>
                <a:spcPts val="526"/>
              </a:spcAft>
            </a:pPr>
            <a:r>
              <a:rPr lang="en-US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26697" y="6414058"/>
            <a:ext cx="4638420" cy="349255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402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12574" lvl="0" indent="-312574" algn="ctr">
              <a:spcBef>
                <a:spcPts val="0"/>
              </a:spcBef>
              <a:spcAft>
                <a:spcPts val="526"/>
              </a:spcAft>
            </a:pPr>
            <a:r>
              <a:rPr lang="en-US" dirty="0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/>
        </p:nvSpPr>
        <p:spPr>
          <a:xfrm>
            <a:off x="4321112" y="1080034"/>
            <a:ext cx="2049589" cy="9729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9817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19038135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" name="Picture 74">
            <a:extLst>
              <a:ext uri="{FF2B5EF4-FFF2-40B4-BE49-F238E27FC236}">
                <a16:creationId xmlns:a16="http://schemas.microsoft.com/office/drawing/2014/main" id="{32889845-07EE-48FB-A972-F8ECF1EF871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0691813" cy="7559675"/>
          </a:xfrm>
          <a:prstGeom prst="rect">
            <a:avLst/>
          </a:prstGeom>
        </p:spPr>
      </p:pic>
      <p:pic>
        <p:nvPicPr>
          <p:cNvPr id="85" name="Graphic 84">
            <a:extLst>
              <a:ext uri="{FF2B5EF4-FFF2-40B4-BE49-F238E27FC236}">
                <a16:creationId xmlns:a16="http://schemas.microsoft.com/office/drawing/2014/main" id="{819BCB30-E1AA-4383-BEF0-0BE30C6425D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28928" y="958547"/>
            <a:ext cx="4249277" cy="4336314"/>
          </a:xfrm>
          <a:prstGeom prst="rect">
            <a:avLst/>
          </a:prstGeom>
        </p:spPr>
      </p:pic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/>
        </p:nvGrpSpPr>
        <p:grpSpPr>
          <a:xfrm>
            <a:off x="436597" y="6422761"/>
            <a:ext cx="3399074" cy="628534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moveTo>
                    <a:pt x="25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moveTo>
                    <a:pt x="25" y="12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53"/>
                  </a:lnTo>
                  <a:lnTo>
                    <a:pt x="25" y="12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moveTo>
                    <a:pt x="1" y="53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lose/>
                  <a:close/>
                  <a:lnTo>
                    <a:pt x="1" y="53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moveTo>
                    <a:pt x="26" y="20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moveTo>
                    <a:pt x="25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moveTo>
                    <a:pt x="24" y="22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39"/>
                  </a:lnTo>
                  <a:lnTo>
                    <a:pt x="24" y="22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moveTo>
                    <a:pt x="25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close/>
                  <a:close/>
                  <a:lnTo>
                    <a:pt x="26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moveTo>
                    <a:pt x="27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moveTo>
                    <a:pt x="24" y="26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53"/>
                  </a:lnTo>
                  <a:lnTo>
                    <a:pt x="24" y="26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moveTo>
                    <a:pt x="27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A63454B3-EB4E-450A-98AA-6B5943D8973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C4ED221A-C963-42C0-91ED-C597F6BDAF9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7956D1CB-5F24-4766-80AE-D755153834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28184" y="2379158"/>
            <a:ext cx="3506369" cy="948432"/>
          </a:xfrm>
          <a:prstGeom prst="rect">
            <a:avLst/>
          </a:prstGeom>
        </p:spPr>
        <p:txBody>
          <a:bodyPr/>
          <a:lstStyle>
            <a:lvl1pPr>
              <a:defRPr sz="263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28352" y="3527770"/>
            <a:ext cx="3524067" cy="7118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753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402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63236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930311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D9F631-BCA2-47E9-B382-A1254CE498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24/03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1D1872-1F65-44DE-8D43-3328C27B58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6C50CF-7368-4D25-B2B5-360BA59E7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270049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0691813" cy="755967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43830C-23AE-48E4-B9DE-E91E6CE0B8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24/03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F742A9-BF69-4BF2-966C-3D76FC687FB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65F912-EBE8-413B-A241-0FB3A540BA8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15729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7B5C6B-B98B-4A4C-A8A7-B006989B59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24/03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EF6675-2050-4038-B9E1-B80DB63D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A4D6F3-1431-4069-B814-255846677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864061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897186E-D73E-46D0-965A-D83686BA73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24/03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EF40EA-FE63-4D50-8C90-EC25A860C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37420B-CF82-4784-8E9C-5C496E27C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666405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 sz="2104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D5E823-546D-4100-9D33-42F450A38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24/03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EEA008-3E80-49A8-A128-C1EEB8A02F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192330-2E70-49F4-A5DA-F82320E70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196087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984" y="2060712"/>
            <a:ext cx="4727129" cy="4691535"/>
          </a:xfrm>
        </p:spPr>
        <p:txBody>
          <a:bodyPr/>
          <a:lstStyle>
            <a:lvl1pPr>
              <a:defRPr sz="1753">
                <a:solidFill>
                  <a:schemeClr val="bg1"/>
                </a:solidFill>
              </a:defRPr>
            </a:lvl1pPr>
            <a:lvl2pPr>
              <a:defRPr sz="1578">
                <a:solidFill>
                  <a:schemeClr val="bg1"/>
                </a:solidFill>
              </a:defRPr>
            </a:lvl2pPr>
            <a:lvl3pPr>
              <a:defRPr sz="1402">
                <a:solidFill>
                  <a:schemeClr val="bg1"/>
                </a:solidFill>
              </a:defRPr>
            </a:lvl3pPr>
            <a:lvl4pPr>
              <a:defRPr sz="1227">
                <a:solidFill>
                  <a:schemeClr val="bg1"/>
                </a:solidFill>
              </a:defRPr>
            </a:lvl4pPr>
            <a:lvl5pPr>
              <a:defRPr sz="1052">
                <a:solidFill>
                  <a:schemeClr val="bg1"/>
                </a:solidFill>
              </a:defRPr>
            </a:lvl5pPr>
            <a:lvl6pPr>
              <a:defRPr sz="1578"/>
            </a:lvl6pPr>
            <a:lvl7pPr>
              <a:defRPr sz="1578"/>
            </a:lvl7pPr>
            <a:lvl8pPr>
              <a:defRPr sz="1578"/>
            </a:lvl8pPr>
            <a:lvl9pPr>
              <a:defRPr sz="157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33957" y="2060712"/>
            <a:ext cx="4727129" cy="4691535"/>
          </a:xfrm>
        </p:spPr>
        <p:txBody>
          <a:bodyPr/>
          <a:lstStyle>
            <a:lvl1pPr>
              <a:defRPr sz="1753">
                <a:solidFill>
                  <a:schemeClr val="bg1"/>
                </a:solidFill>
              </a:defRPr>
            </a:lvl1pPr>
            <a:lvl2pPr>
              <a:defRPr sz="1578">
                <a:solidFill>
                  <a:schemeClr val="bg1"/>
                </a:solidFill>
              </a:defRPr>
            </a:lvl2pPr>
            <a:lvl3pPr>
              <a:defRPr sz="1402">
                <a:solidFill>
                  <a:schemeClr val="bg1"/>
                </a:solidFill>
              </a:defRPr>
            </a:lvl3pPr>
            <a:lvl4pPr>
              <a:defRPr sz="1227">
                <a:solidFill>
                  <a:schemeClr val="bg1"/>
                </a:solidFill>
              </a:defRPr>
            </a:lvl4pPr>
            <a:lvl5pPr>
              <a:defRPr sz="1052">
                <a:solidFill>
                  <a:schemeClr val="bg1"/>
                </a:solidFill>
              </a:defRPr>
            </a:lvl5pPr>
            <a:lvl6pPr>
              <a:defRPr sz="1578"/>
            </a:lvl6pPr>
            <a:lvl7pPr>
              <a:defRPr sz="1578"/>
            </a:lvl7pPr>
            <a:lvl8pPr>
              <a:defRPr sz="1578"/>
            </a:lvl8pPr>
            <a:lvl9pPr>
              <a:defRPr sz="157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34591" y="1254346"/>
            <a:ext cx="4727129" cy="706363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33957" y="1254346"/>
            <a:ext cx="4727129" cy="706363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13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3CD3F7-62DC-4CC4-8F34-C353DB087D7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24/03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D2EC01-3D34-4D32-9B76-5269D1AA46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BE1C2B-4DA4-468F-9976-85F6CBF82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870086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58102" y="0"/>
            <a:ext cx="5233711" cy="755967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4046" y="2842586"/>
            <a:ext cx="3977506" cy="1163723"/>
          </a:xfrm>
        </p:spPr>
        <p:txBody>
          <a:bodyPr/>
          <a:lstStyle>
            <a:lvl1pPr marL="0" indent="0">
              <a:buNone/>
              <a:defRPr sz="2630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4046" y="4233312"/>
            <a:ext cx="3977506" cy="1163723"/>
          </a:xfrm>
        </p:spPr>
        <p:txBody>
          <a:bodyPr/>
          <a:lstStyle>
            <a:lvl1pPr marL="0" indent="0">
              <a:buNone/>
              <a:defRPr sz="1402"/>
            </a:lvl1pPr>
          </a:lstStyle>
          <a:p>
            <a:pPr lvl="0"/>
            <a:r>
              <a:rPr lang="en-IN" dirty="0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EABBDA-A77F-45A2-9996-90CD0EE5C38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24/03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883B36-3BA3-42B4-A811-65C0AF01A8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D9C98C-F30E-45BC-A1D9-67DB57119D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328487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9228" y="3143275"/>
            <a:ext cx="3898482" cy="1325333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155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12574" marR="0" lvl="0" indent="-312574" defTabSz="88341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0C2D9D-B0D7-494E-9184-FCD6E94AACE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24/03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7FD91A-AB40-450B-8784-9A5D99C62D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CE5F90-7113-4FA1-AFCF-3BC8EF0100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202505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D5388A-86DF-494E-B137-EE20B7E1CF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24/03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97E548-6FF4-4D89-ADE0-60181F536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0B0A8B-D001-432B-877C-21558412B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81033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 sz="2104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8806A2-2AA7-4EC7-8FA5-6DD8E9FC1A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24/03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6F6B4-9E49-490D-8FE1-DB9035090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C35AEC-478D-4BBF-9883-4CE09EB3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C5F387F-0A77-424D-88D8-FFE5F0CA2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4591" y="1254346"/>
            <a:ext cx="9622632" cy="54541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694332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32734" y="792717"/>
            <a:ext cx="4099931" cy="5743129"/>
          </a:xfrm>
        </p:spPr>
        <p:txBody>
          <a:bodyPr/>
          <a:lstStyle>
            <a:lvl1pPr marL="0" indent="0" algn="l" defTabSz="872436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052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54451" indent="-154451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0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65582" indent="-165582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01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1668600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5102835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B0055C33-19A3-4284-9469-1C43A404CD13}"/>
              </a:ext>
            </a:extLst>
          </p:cNvPr>
          <p:cNvSpPr>
            <a:spLocks/>
          </p:cNvSpPr>
          <p:nvPr userDrawn="1"/>
        </p:nvSpPr>
        <p:spPr>
          <a:xfrm>
            <a:off x="334018" y="2544457"/>
            <a:ext cx="10035533" cy="2484743"/>
          </a:xfrm>
          <a:prstGeom prst="rect">
            <a:avLst/>
          </a:prstGeom>
          <a:solidFill>
            <a:srgbClr val="74748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12B493B2-599A-4B17-80A7-BBD29BB1835A}"/>
              </a:ext>
            </a:extLst>
          </p:cNvPr>
          <p:cNvSpPr txBox="1">
            <a:spLocks/>
          </p:cNvSpPr>
          <p:nvPr userDrawn="1"/>
        </p:nvSpPr>
        <p:spPr>
          <a:xfrm>
            <a:off x="334018" y="6972856"/>
            <a:ext cx="10050463" cy="369332"/>
          </a:xfrm>
          <a:prstGeom prst="rect">
            <a:avLst/>
          </a:prstGeom>
          <a:solidFill>
            <a:srgbClr val="2E2E38"/>
          </a:solidFill>
        </p:spPr>
        <p:txBody>
          <a:bodyPr wrap="square">
            <a:spAutoFit/>
          </a:bodyPr>
          <a:lstStyle/>
          <a:p>
            <a:pPr algn="ctr"/>
            <a:r>
              <a:rPr lang="en-GB" sz="1800" b="0" dirty="0">
                <a:solidFill>
                  <a:srgbClr val="FFE600"/>
                </a:solidFill>
                <a:latin typeface="EYInterstate" panose="02000503020000020004" pitchFamily="2" charset="0"/>
              </a:rPr>
              <a:t>Don’t just predict the future. Build a better one. </a:t>
            </a:r>
          </a:p>
        </p:txBody>
      </p:sp>
      <p:sp>
        <p:nvSpPr>
          <p:cNvPr id="16" name="Rectangle 8">
            <a:extLst>
              <a:ext uri="{FF2B5EF4-FFF2-40B4-BE49-F238E27FC236}">
                <a16:creationId xmlns:a16="http://schemas.microsoft.com/office/drawing/2014/main" id="{3F42BA56-CAE3-41F7-9275-0DB1B2158BD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19088" y="322263"/>
            <a:ext cx="10050463" cy="7019925"/>
          </a:xfrm>
          <a:prstGeom prst="rect">
            <a:avLst/>
          </a:prstGeom>
          <a:noFill/>
          <a:ln w="23813" cap="flat">
            <a:solidFill>
              <a:srgbClr val="2E2E38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3" name="Freeform 17">
            <a:extLst>
              <a:ext uri="{FF2B5EF4-FFF2-40B4-BE49-F238E27FC236}">
                <a16:creationId xmlns:a16="http://schemas.microsoft.com/office/drawing/2014/main" id="{26EB76D5-7537-4808-BE7E-0FC9CCE11925}"/>
              </a:ext>
            </a:extLst>
          </p:cNvPr>
          <p:cNvSpPr>
            <a:spLocks/>
          </p:cNvSpPr>
          <p:nvPr userDrawn="1"/>
        </p:nvSpPr>
        <p:spPr bwMode="auto">
          <a:xfrm>
            <a:off x="3338514" y="2239657"/>
            <a:ext cx="4014786" cy="574227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s is to certify that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sp>
        <p:nvSpPr>
          <p:cNvPr id="166" name="Subtitle 2">
            <a:extLst>
              <a:ext uri="{FF2B5EF4-FFF2-40B4-BE49-F238E27FC236}">
                <a16:creationId xmlns:a16="http://schemas.microsoft.com/office/drawing/2014/main" id="{0008E2B0-8C2A-41AF-96F4-19FD43337F99}"/>
              </a:ext>
            </a:extLst>
          </p:cNvPr>
          <p:cNvSpPr txBox="1">
            <a:spLocks/>
          </p:cNvSpPr>
          <p:nvPr userDrawn="1"/>
        </p:nvSpPr>
        <p:spPr>
          <a:xfrm>
            <a:off x="2214400" y="3905056"/>
            <a:ext cx="6263014" cy="928572"/>
          </a:xfrm>
          <a:prstGeom prst="rect">
            <a:avLst/>
          </a:prstGeom>
        </p:spPr>
        <p:txBody>
          <a:bodyPr vert="horz" lIns="80189" tIns="40095" rIns="80189" bIns="40095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07943">
              <a:lnSpc>
                <a:spcPct val="100000"/>
              </a:lnSpc>
              <a:spcBef>
                <a:spcPct val="0"/>
              </a:spcBef>
            </a:pPr>
            <a:r>
              <a:rPr lang="en-IN" dirty="0">
                <a:latin typeface="EYInterstate Light" panose="02000506000000020004" pitchFamily="2" charset="0"/>
                <a:ea typeface="+mj-ea"/>
                <a:cs typeface="+mj-cs"/>
              </a:rPr>
              <a:t>successfully completed the 2023 Better Working World Data Challenge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.</a:t>
            </a:r>
          </a:p>
        </p:txBody>
      </p:sp>
      <p:sp>
        <p:nvSpPr>
          <p:cNvPr id="167" name="Title 35">
            <a:extLst>
              <a:ext uri="{FF2B5EF4-FFF2-40B4-BE49-F238E27FC236}">
                <a16:creationId xmlns:a16="http://schemas.microsoft.com/office/drawing/2014/main" id="{E99C4E33-460E-455E-BE5F-18795CB92B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4400" y="3201833"/>
            <a:ext cx="6263014" cy="574258"/>
          </a:xfrm>
        </p:spPr>
        <p:txBody>
          <a:bodyPr>
            <a:normAutofit/>
          </a:bodyPr>
          <a:lstStyle>
            <a:lvl1pPr algn="ctr">
              <a:defRPr sz="3500" b="1">
                <a:latin typeface="EYInterstate" panose="02000503020000020004" pitchFamily="2" charset="0"/>
              </a:defRPr>
            </a:lvl1pPr>
          </a:lstStyle>
          <a:p>
            <a:r>
              <a:rPr lang="en-US" dirty="0"/>
              <a:t>[Insert Name Here]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5307B001-A857-4A97-B110-28C358E21379}"/>
              </a:ext>
            </a:extLst>
          </p:cNvPr>
          <p:cNvSpPr txBox="1">
            <a:spLocks/>
          </p:cNvSpPr>
          <p:nvPr userDrawn="1"/>
        </p:nvSpPr>
        <p:spPr>
          <a:xfrm>
            <a:off x="569746" y="6165616"/>
            <a:ext cx="330778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Beatriz Sanz Saiz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EY Global Data &amp; Analytics Leader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E28881B7-9B56-45C9-8F51-5B4E7B548053}"/>
              </a:ext>
            </a:extLst>
          </p:cNvPr>
          <p:cNvSpPr txBox="1">
            <a:spLocks/>
          </p:cNvSpPr>
          <p:nvPr userDrawn="1"/>
        </p:nvSpPr>
        <p:spPr>
          <a:xfrm>
            <a:off x="7081583" y="6165617"/>
            <a:ext cx="3040484" cy="461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Alexandros Papaspyridis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Director, Higher Education, Microsof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2C97D50-130A-4A23-A252-E7DADE010B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674762" y="7314931"/>
            <a:ext cx="3854125" cy="402483"/>
          </a:xfrm>
        </p:spPr>
        <p:txBody>
          <a:bodyPr/>
          <a:lstStyle>
            <a:lvl1pPr>
              <a:defRPr sz="900"/>
            </a:lvl1pPr>
          </a:lstStyle>
          <a:p>
            <a:r>
              <a:rPr lang="en-US" dirty="0">
                <a:solidFill>
                  <a:srgbClr val="444444"/>
                </a:solidFill>
                <a:latin typeface="Segoe UI" panose="020B0502040204020203" pitchFamily="34" charset="0"/>
              </a:rPr>
              <a:t>© 2023 EYGM Limited. All Rights Reserved.</a:t>
            </a:r>
            <a:endParaRPr lang="en-GB" dirty="0"/>
          </a:p>
          <a:p>
            <a:endParaRPr lang="en-GB" dirty="0"/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EE756391-C984-4279-B19F-5D6A5E90CB8D}"/>
              </a:ext>
            </a:extLst>
          </p:cNvPr>
          <p:cNvCxnSpPr>
            <a:cxnSpLocks/>
          </p:cNvCxnSpPr>
          <p:nvPr userDrawn="1"/>
        </p:nvCxnSpPr>
        <p:spPr>
          <a:xfrm>
            <a:off x="2214400" y="3795622"/>
            <a:ext cx="6263014" cy="0"/>
          </a:xfrm>
          <a:prstGeom prst="line">
            <a:avLst/>
          </a:prstGeom>
          <a:ln w="28575">
            <a:solidFill>
              <a:srgbClr val="FFE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03382338-D59F-43D1-BDD6-CEB9B868029F}"/>
              </a:ext>
            </a:extLst>
          </p:cNvPr>
          <p:cNvCxnSpPr>
            <a:cxnSpLocks/>
          </p:cNvCxnSpPr>
          <p:nvPr userDrawn="1"/>
        </p:nvCxnSpPr>
        <p:spPr>
          <a:xfrm>
            <a:off x="569746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32A08271-3DEB-49A4-B899-7C61600D1DC4}"/>
              </a:ext>
            </a:extLst>
          </p:cNvPr>
          <p:cNvCxnSpPr>
            <a:cxnSpLocks/>
          </p:cNvCxnSpPr>
          <p:nvPr userDrawn="1"/>
        </p:nvCxnSpPr>
        <p:spPr>
          <a:xfrm>
            <a:off x="7081582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0" name="Group 4">
            <a:extLst>
              <a:ext uri="{FF2B5EF4-FFF2-40B4-BE49-F238E27FC236}">
                <a16:creationId xmlns:a16="http://schemas.microsoft.com/office/drawing/2014/main" id="{5044809D-1320-4B48-BEF6-F0C62017E5D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22844" y="561618"/>
            <a:ext cx="1080000" cy="1282704"/>
            <a:chOff x="4857" y="3364"/>
            <a:chExt cx="622" cy="729"/>
          </a:xfrm>
        </p:grpSpPr>
        <p:sp>
          <p:nvSpPr>
            <p:cNvPr id="171" name="AutoShape 3">
              <a:extLst>
                <a:ext uri="{FF2B5EF4-FFF2-40B4-BE49-F238E27FC236}">
                  <a16:creationId xmlns:a16="http://schemas.microsoft.com/office/drawing/2014/main" id="{5E7BEA53-1940-4BF4-8134-CD6ACFEA8F54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2" name="Freeform 5">
              <a:extLst>
                <a:ext uri="{FF2B5EF4-FFF2-40B4-BE49-F238E27FC236}">
                  <a16:creationId xmlns:a16="http://schemas.microsoft.com/office/drawing/2014/main" id="{6C5F8E9B-E8EE-4952-B94D-B8424625C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3" name="Freeform 6">
              <a:extLst>
                <a:ext uri="{FF2B5EF4-FFF2-40B4-BE49-F238E27FC236}">
                  <a16:creationId xmlns:a16="http://schemas.microsoft.com/office/drawing/2014/main" id="{9D49455B-7C03-472F-8E9A-1ED96B78BC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moveTo>
                    <a:pt x="152" y="1823"/>
                  </a:moveTo>
                  <a:moveTo>
                    <a:pt x="151" y="1685"/>
                  </a:moveTo>
                  <a:moveTo>
                    <a:pt x="298" y="1778"/>
                  </a:moveTo>
                  <a:moveTo>
                    <a:pt x="1143" y="1874"/>
                  </a:moveTo>
                  <a:moveTo>
                    <a:pt x="597" y="1755"/>
                  </a:moveTo>
                  <a:moveTo>
                    <a:pt x="646" y="1585"/>
                  </a:moveTo>
                  <a:moveTo>
                    <a:pt x="877" y="1666"/>
                  </a:moveTo>
                  <a:moveTo>
                    <a:pt x="838" y="1829"/>
                  </a:moveTo>
                  <a:moveTo>
                    <a:pt x="2084" y="1645"/>
                  </a:moveTo>
                  <a:moveTo>
                    <a:pt x="2074" y="1696"/>
                  </a:moveTo>
                  <a:moveTo>
                    <a:pt x="1455" y="1666"/>
                  </a:moveTo>
                  <a:moveTo>
                    <a:pt x="1455" y="1719"/>
                  </a:moveTo>
                  <a:moveTo>
                    <a:pt x="1683" y="1705"/>
                  </a:moveTo>
                  <a:moveTo>
                    <a:pt x="1698" y="1800"/>
                  </a:moveTo>
                  <a:moveTo>
                    <a:pt x="2350" y="1810"/>
                  </a:moveTo>
                  <a:moveTo>
                    <a:pt x="2257" y="1739"/>
                  </a:moveTo>
                  <a:moveTo>
                    <a:pt x="2884" y="1810"/>
                  </a:moveTo>
                  <a:moveTo>
                    <a:pt x="2791" y="1739"/>
                  </a:moveTo>
                  <a:moveTo>
                    <a:pt x="2658" y="1797"/>
                  </a:moveTo>
                  <a:moveTo>
                    <a:pt x="2550" y="1869"/>
                  </a:moveTo>
                  <a:moveTo>
                    <a:pt x="3096" y="1713"/>
                  </a:moveTo>
                  <a:moveTo>
                    <a:pt x="597" y="1591"/>
                  </a:moveTo>
                  <a:moveTo>
                    <a:pt x="981" y="1651"/>
                  </a:moveTo>
                  <a:moveTo>
                    <a:pt x="1037" y="1591"/>
                  </a:moveTo>
                  <a:moveTo>
                    <a:pt x="2558" y="2058"/>
                  </a:moveTo>
                  <a:moveTo>
                    <a:pt x="2519" y="2220"/>
                  </a:moveTo>
                  <a:moveTo>
                    <a:pt x="677" y="2105"/>
                  </a:moveTo>
                  <a:moveTo>
                    <a:pt x="242" y="2042"/>
                  </a:moveTo>
                  <a:moveTo>
                    <a:pt x="409" y="2037"/>
                  </a:moveTo>
                  <a:moveTo>
                    <a:pt x="409" y="2219"/>
                  </a:moveTo>
                  <a:moveTo>
                    <a:pt x="2285" y="2105"/>
                  </a:moveTo>
                  <a:moveTo>
                    <a:pt x="1850" y="2042"/>
                  </a:moveTo>
                  <a:moveTo>
                    <a:pt x="2016" y="2037"/>
                  </a:moveTo>
                  <a:moveTo>
                    <a:pt x="2016" y="2219"/>
                  </a:moveTo>
                  <a:moveTo>
                    <a:pt x="843" y="2116"/>
                  </a:moveTo>
                  <a:moveTo>
                    <a:pt x="1105" y="2266"/>
                  </a:moveTo>
                  <a:moveTo>
                    <a:pt x="1418" y="2058"/>
                  </a:moveTo>
                  <a:moveTo>
                    <a:pt x="1418" y="2110"/>
                  </a:moveTo>
                  <a:moveTo>
                    <a:pt x="945" y="2042"/>
                  </a:moveTo>
                  <a:moveTo>
                    <a:pt x="1000" y="1982"/>
                  </a:moveTo>
                  <a:moveTo>
                    <a:pt x="2325" y="1977"/>
                  </a:moveTo>
                  <a:moveTo>
                    <a:pt x="400" y="762"/>
                  </a:moveTo>
                  <a:moveTo>
                    <a:pt x="1702" y="0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</p:grpSp>
      <p:pic>
        <p:nvPicPr>
          <p:cNvPr id="174" name="Graphic 173">
            <a:extLst>
              <a:ext uri="{FF2B5EF4-FFF2-40B4-BE49-F238E27FC236}">
                <a16:creationId xmlns:a16="http://schemas.microsoft.com/office/drawing/2014/main" id="{16EC7F8A-510D-47E1-8C81-E7D29DC71A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07157" y="606500"/>
            <a:ext cx="2367926" cy="505789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BDFDF024-768B-4E7C-9782-521852E5584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08589" y="1429950"/>
            <a:ext cx="2364691" cy="601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284439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B0055C33-19A3-4284-9469-1C43A404CD13}"/>
              </a:ext>
            </a:extLst>
          </p:cNvPr>
          <p:cNvSpPr>
            <a:spLocks/>
          </p:cNvSpPr>
          <p:nvPr userDrawn="1"/>
        </p:nvSpPr>
        <p:spPr>
          <a:xfrm>
            <a:off x="334018" y="2544457"/>
            <a:ext cx="10035533" cy="2484743"/>
          </a:xfrm>
          <a:prstGeom prst="rect">
            <a:avLst/>
          </a:prstGeom>
          <a:solidFill>
            <a:srgbClr val="74748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12B493B2-599A-4B17-80A7-BBD29BB1835A}"/>
              </a:ext>
            </a:extLst>
          </p:cNvPr>
          <p:cNvSpPr txBox="1">
            <a:spLocks/>
          </p:cNvSpPr>
          <p:nvPr userDrawn="1"/>
        </p:nvSpPr>
        <p:spPr>
          <a:xfrm>
            <a:off x="334018" y="6862306"/>
            <a:ext cx="10050463" cy="369332"/>
          </a:xfrm>
          <a:prstGeom prst="rect">
            <a:avLst/>
          </a:prstGeom>
          <a:solidFill>
            <a:srgbClr val="FFE600"/>
          </a:solidFill>
        </p:spPr>
        <p:txBody>
          <a:bodyPr wrap="square">
            <a:spAutoFit/>
          </a:bodyPr>
          <a:lstStyle/>
          <a:p>
            <a:pPr algn="ctr"/>
            <a:r>
              <a:rPr lang="en-GB" sz="1800" b="0" dirty="0">
                <a:solidFill>
                  <a:schemeClr val="tx1"/>
                </a:solidFill>
                <a:latin typeface="EYInterstate" panose="02000503020000020004" pitchFamily="2" charset="0"/>
              </a:rPr>
              <a:t>Don’t just predict the future. Build a better one. </a:t>
            </a:r>
          </a:p>
        </p:txBody>
      </p:sp>
      <p:sp>
        <p:nvSpPr>
          <p:cNvPr id="16" name="Rectangle 8">
            <a:extLst>
              <a:ext uri="{FF2B5EF4-FFF2-40B4-BE49-F238E27FC236}">
                <a16:creationId xmlns:a16="http://schemas.microsoft.com/office/drawing/2014/main" id="{3F42BA56-CAE3-41F7-9275-0DB1B2158BD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19088" y="322263"/>
            <a:ext cx="10050463" cy="7019925"/>
          </a:xfrm>
          <a:prstGeom prst="rect">
            <a:avLst/>
          </a:prstGeom>
          <a:noFill/>
          <a:ln w="23813" cap="flat">
            <a:solidFill>
              <a:srgbClr val="74748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3" name="Freeform 17">
            <a:extLst>
              <a:ext uri="{FF2B5EF4-FFF2-40B4-BE49-F238E27FC236}">
                <a16:creationId xmlns:a16="http://schemas.microsoft.com/office/drawing/2014/main" id="{26EB76D5-7537-4808-BE7E-0FC9CCE11925}"/>
              </a:ext>
            </a:extLst>
          </p:cNvPr>
          <p:cNvSpPr>
            <a:spLocks/>
          </p:cNvSpPr>
          <p:nvPr userDrawn="1"/>
        </p:nvSpPr>
        <p:spPr bwMode="auto">
          <a:xfrm>
            <a:off x="3338514" y="2239657"/>
            <a:ext cx="4014786" cy="574227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s is to certify that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sp>
        <p:nvSpPr>
          <p:cNvPr id="166" name="Subtitle 2">
            <a:extLst>
              <a:ext uri="{FF2B5EF4-FFF2-40B4-BE49-F238E27FC236}">
                <a16:creationId xmlns:a16="http://schemas.microsoft.com/office/drawing/2014/main" id="{0008E2B0-8C2A-41AF-96F4-19FD43337F99}"/>
              </a:ext>
            </a:extLst>
          </p:cNvPr>
          <p:cNvSpPr txBox="1">
            <a:spLocks/>
          </p:cNvSpPr>
          <p:nvPr userDrawn="1"/>
        </p:nvSpPr>
        <p:spPr>
          <a:xfrm>
            <a:off x="2214400" y="3905056"/>
            <a:ext cx="6263014" cy="928572"/>
          </a:xfrm>
          <a:prstGeom prst="rect">
            <a:avLst/>
          </a:prstGeom>
        </p:spPr>
        <p:txBody>
          <a:bodyPr vert="horz" lIns="80189" tIns="40095" rIns="80189" bIns="40095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07943">
              <a:lnSpc>
                <a:spcPct val="100000"/>
              </a:lnSpc>
              <a:spcBef>
                <a:spcPct val="0"/>
              </a:spcBef>
            </a:pP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is a global </a:t>
            </a:r>
            <a:r>
              <a:rPr lang="en-GB" sz="2800" b="1" dirty="0">
                <a:latin typeface="EYInterstate" panose="02000503020000020004" pitchFamily="2" charset="0"/>
                <a:ea typeface="+mj-ea"/>
                <a:cs typeface="+mj-cs"/>
              </a:rPr>
              <a:t>semi-finalist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 in the 2022 Better Working World Data Challenge.</a:t>
            </a:r>
            <a:b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</a:br>
            <a:endParaRPr lang="en-GB" dirty="0">
              <a:latin typeface="EYInterstate Light" panose="02000506000000020004" pitchFamily="2" charset="0"/>
              <a:ea typeface="+mj-ea"/>
              <a:cs typeface="+mj-cs"/>
            </a:endParaRPr>
          </a:p>
        </p:txBody>
      </p:sp>
      <p:sp>
        <p:nvSpPr>
          <p:cNvPr id="167" name="Title 35">
            <a:extLst>
              <a:ext uri="{FF2B5EF4-FFF2-40B4-BE49-F238E27FC236}">
                <a16:creationId xmlns:a16="http://schemas.microsoft.com/office/drawing/2014/main" id="{E99C4E33-460E-455E-BE5F-18795CB92B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4400" y="3201833"/>
            <a:ext cx="6263014" cy="574258"/>
          </a:xfrm>
        </p:spPr>
        <p:txBody>
          <a:bodyPr>
            <a:normAutofit/>
          </a:bodyPr>
          <a:lstStyle>
            <a:lvl1pPr algn="ctr">
              <a:defRPr sz="3500" b="1">
                <a:latin typeface="EYInterstate" panose="02000503020000020004" pitchFamily="2" charset="0"/>
              </a:defRPr>
            </a:lvl1pPr>
          </a:lstStyle>
          <a:p>
            <a:r>
              <a:rPr lang="en-US" dirty="0"/>
              <a:t>[Insert Name Here]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5307B001-A857-4A97-B110-28C358E21379}"/>
              </a:ext>
            </a:extLst>
          </p:cNvPr>
          <p:cNvSpPr txBox="1">
            <a:spLocks/>
          </p:cNvSpPr>
          <p:nvPr userDrawn="1"/>
        </p:nvSpPr>
        <p:spPr>
          <a:xfrm>
            <a:off x="569746" y="6165616"/>
            <a:ext cx="330778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Beatriz Sanz Saiz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Global Data &amp; Analytics Leader, EY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E28881B7-9B56-45C9-8F51-5B4E7B548053}"/>
              </a:ext>
            </a:extLst>
          </p:cNvPr>
          <p:cNvSpPr txBox="1">
            <a:spLocks/>
          </p:cNvSpPr>
          <p:nvPr userDrawn="1"/>
        </p:nvSpPr>
        <p:spPr>
          <a:xfrm>
            <a:off x="7081583" y="6165617"/>
            <a:ext cx="3040484" cy="461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Alexandros Papaspyridis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Director, Higher Education, Microsoft</a:t>
            </a:r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EE756391-C984-4279-B19F-5D6A5E90CB8D}"/>
              </a:ext>
            </a:extLst>
          </p:cNvPr>
          <p:cNvCxnSpPr>
            <a:cxnSpLocks/>
          </p:cNvCxnSpPr>
          <p:nvPr userDrawn="1"/>
        </p:nvCxnSpPr>
        <p:spPr>
          <a:xfrm>
            <a:off x="2214400" y="3795622"/>
            <a:ext cx="6263014" cy="0"/>
          </a:xfrm>
          <a:prstGeom prst="line">
            <a:avLst/>
          </a:prstGeom>
          <a:ln w="28575">
            <a:solidFill>
              <a:srgbClr val="FFE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03382338-D59F-43D1-BDD6-CEB9B868029F}"/>
              </a:ext>
            </a:extLst>
          </p:cNvPr>
          <p:cNvCxnSpPr>
            <a:cxnSpLocks/>
          </p:cNvCxnSpPr>
          <p:nvPr userDrawn="1"/>
        </p:nvCxnSpPr>
        <p:spPr>
          <a:xfrm>
            <a:off x="569746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32A08271-3DEB-49A4-B899-7C61600D1DC4}"/>
              </a:ext>
            </a:extLst>
          </p:cNvPr>
          <p:cNvCxnSpPr>
            <a:cxnSpLocks/>
          </p:cNvCxnSpPr>
          <p:nvPr userDrawn="1"/>
        </p:nvCxnSpPr>
        <p:spPr>
          <a:xfrm>
            <a:off x="7081582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0" name="Group 4">
            <a:extLst>
              <a:ext uri="{FF2B5EF4-FFF2-40B4-BE49-F238E27FC236}">
                <a16:creationId xmlns:a16="http://schemas.microsoft.com/office/drawing/2014/main" id="{5044809D-1320-4B48-BEF6-F0C62017E5D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22844" y="561618"/>
            <a:ext cx="1080000" cy="1282704"/>
            <a:chOff x="4857" y="3364"/>
            <a:chExt cx="622" cy="729"/>
          </a:xfrm>
        </p:grpSpPr>
        <p:sp>
          <p:nvSpPr>
            <p:cNvPr id="171" name="AutoShape 3">
              <a:extLst>
                <a:ext uri="{FF2B5EF4-FFF2-40B4-BE49-F238E27FC236}">
                  <a16:creationId xmlns:a16="http://schemas.microsoft.com/office/drawing/2014/main" id="{5E7BEA53-1940-4BF4-8134-CD6ACFEA8F54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2" name="Freeform 5">
              <a:extLst>
                <a:ext uri="{FF2B5EF4-FFF2-40B4-BE49-F238E27FC236}">
                  <a16:creationId xmlns:a16="http://schemas.microsoft.com/office/drawing/2014/main" id="{6C5F8E9B-E8EE-4952-B94D-B8424625C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3" name="Freeform 6">
              <a:extLst>
                <a:ext uri="{FF2B5EF4-FFF2-40B4-BE49-F238E27FC236}">
                  <a16:creationId xmlns:a16="http://schemas.microsoft.com/office/drawing/2014/main" id="{9D49455B-7C03-472F-8E9A-1ED96B78BC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moveTo>
                    <a:pt x="152" y="1823"/>
                  </a:moveTo>
                  <a:moveTo>
                    <a:pt x="151" y="1685"/>
                  </a:moveTo>
                  <a:moveTo>
                    <a:pt x="298" y="1778"/>
                  </a:moveTo>
                  <a:moveTo>
                    <a:pt x="1143" y="1874"/>
                  </a:moveTo>
                  <a:moveTo>
                    <a:pt x="597" y="1755"/>
                  </a:moveTo>
                  <a:moveTo>
                    <a:pt x="646" y="1585"/>
                  </a:moveTo>
                  <a:moveTo>
                    <a:pt x="877" y="1666"/>
                  </a:moveTo>
                  <a:moveTo>
                    <a:pt x="838" y="1829"/>
                  </a:moveTo>
                  <a:moveTo>
                    <a:pt x="2084" y="1645"/>
                  </a:moveTo>
                  <a:moveTo>
                    <a:pt x="2074" y="1696"/>
                  </a:moveTo>
                  <a:moveTo>
                    <a:pt x="1455" y="1666"/>
                  </a:moveTo>
                  <a:moveTo>
                    <a:pt x="1455" y="1719"/>
                  </a:moveTo>
                  <a:moveTo>
                    <a:pt x="1683" y="1705"/>
                  </a:moveTo>
                  <a:moveTo>
                    <a:pt x="1698" y="1800"/>
                  </a:moveTo>
                  <a:moveTo>
                    <a:pt x="2350" y="1810"/>
                  </a:moveTo>
                  <a:moveTo>
                    <a:pt x="2257" y="1739"/>
                  </a:moveTo>
                  <a:moveTo>
                    <a:pt x="2884" y="1810"/>
                  </a:moveTo>
                  <a:moveTo>
                    <a:pt x="2791" y="1739"/>
                  </a:moveTo>
                  <a:moveTo>
                    <a:pt x="2658" y="1797"/>
                  </a:moveTo>
                  <a:moveTo>
                    <a:pt x="2550" y="1869"/>
                  </a:moveTo>
                  <a:moveTo>
                    <a:pt x="3096" y="1713"/>
                  </a:moveTo>
                  <a:moveTo>
                    <a:pt x="597" y="1591"/>
                  </a:moveTo>
                  <a:moveTo>
                    <a:pt x="981" y="1651"/>
                  </a:moveTo>
                  <a:moveTo>
                    <a:pt x="1037" y="1591"/>
                  </a:moveTo>
                  <a:moveTo>
                    <a:pt x="2558" y="2058"/>
                  </a:moveTo>
                  <a:moveTo>
                    <a:pt x="2519" y="2220"/>
                  </a:moveTo>
                  <a:moveTo>
                    <a:pt x="677" y="2105"/>
                  </a:moveTo>
                  <a:moveTo>
                    <a:pt x="242" y="2042"/>
                  </a:moveTo>
                  <a:moveTo>
                    <a:pt x="409" y="2037"/>
                  </a:moveTo>
                  <a:moveTo>
                    <a:pt x="409" y="2219"/>
                  </a:moveTo>
                  <a:moveTo>
                    <a:pt x="2285" y="2105"/>
                  </a:moveTo>
                  <a:moveTo>
                    <a:pt x="1850" y="2042"/>
                  </a:moveTo>
                  <a:moveTo>
                    <a:pt x="2016" y="2037"/>
                  </a:moveTo>
                  <a:moveTo>
                    <a:pt x="2016" y="2219"/>
                  </a:moveTo>
                  <a:moveTo>
                    <a:pt x="843" y="2116"/>
                  </a:moveTo>
                  <a:moveTo>
                    <a:pt x="1105" y="2266"/>
                  </a:moveTo>
                  <a:moveTo>
                    <a:pt x="1418" y="2058"/>
                  </a:moveTo>
                  <a:moveTo>
                    <a:pt x="1418" y="2110"/>
                  </a:moveTo>
                  <a:moveTo>
                    <a:pt x="945" y="2042"/>
                  </a:moveTo>
                  <a:moveTo>
                    <a:pt x="1000" y="1982"/>
                  </a:moveTo>
                  <a:moveTo>
                    <a:pt x="2325" y="1977"/>
                  </a:moveTo>
                  <a:moveTo>
                    <a:pt x="400" y="762"/>
                  </a:moveTo>
                  <a:moveTo>
                    <a:pt x="1702" y="0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</p:grpSp>
      <p:pic>
        <p:nvPicPr>
          <p:cNvPr id="174" name="Graphic 173">
            <a:extLst>
              <a:ext uri="{FF2B5EF4-FFF2-40B4-BE49-F238E27FC236}">
                <a16:creationId xmlns:a16="http://schemas.microsoft.com/office/drawing/2014/main" id="{16EC7F8A-510D-47E1-8C81-E7D29DC71A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07157" y="808302"/>
            <a:ext cx="2367926" cy="505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21682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277C381A-4832-44EF-BC1F-D344FAAAD711}"/>
              </a:ext>
            </a:extLst>
          </p:cNvPr>
          <p:cNvSpPr>
            <a:spLocks/>
          </p:cNvSpPr>
          <p:nvPr userDrawn="1"/>
        </p:nvSpPr>
        <p:spPr>
          <a:xfrm>
            <a:off x="334018" y="2544457"/>
            <a:ext cx="10035533" cy="2484743"/>
          </a:xfrm>
          <a:prstGeom prst="rect">
            <a:avLst/>
          </a:prstGeom>
          <a:solidFill>
            <a:srgbClr val="74748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12B493B2-599A-4B17-80A7-BBD29BB1835A}"/>
              </a:ext>
            </a:extLst>
          </p:cNvPr>
          <p:cNvSpPr txBox="1">
            <a:spLocks/>
          </p:cNvSpPr>
          <p:nvPr userDrawn="1"/>
        </p:nvSpPr>
        <p:spPr>
          <a:xfrm>
            <a:off x="334018" y="6862306"/>
            <a:ext cx="10050463" cy="369332"/>
          </a:xfrm>
          <a:prstGeom prst="rect">
            <a:avLst/>
          </a:prstGeom>
          <a:solidFill>
            <a:srgbClr val="FFE600"/>
          </a:solidFill>
        </p:spPr>
        <p:txBody>
          <a:bodyPr wrap="square">
            <a:spAutoFit/>
          </a:bodyPr>
          <a:lstStyle/>
          <a:p>
            <a:pPr algn="ctr"/>
            <a:r>
              <a:rPr lang="en-GB" sz="1800" b="0" dirty="0">
                <a:solidFill>
                  <a:schemeClr val="tx1"/>
                </a:solidFill>
                <a:latin typeface="EYInterstate" panose="02000503020000020004" pitchFamily="2" charset="0"/>
              </a:rPr>
              <a:t>Don’t just predict the future. Build a better one. </a:t>
            </a:r>
          </a:p>
        </p:txBody>
      </p:sp>
      <p:sp>
        <p:nvSpPr>
          <p:cNvPr id="16" name="Rectangle 8">
            <a:extLst>
              <a:ext uri="{FF2B5EF4-FFF2-40B4-BE49-F238E27FC236}">
                <a16:creationId xmlns:a16="http://schemas.microsoft.com/office/drawing/2014/main" id="{3F42BA56-CAE3-41F7-9275-0DB1B2158BD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19088" y="322263"/>
            <a:ext cx="10050463" cy="7019925"/>
          </a:xfrm>
          <a:prstGeom prst="rect">
            <a:avLst/>
          </a:prstGeom>
          <a:noFill/>
          <a:ln w="23813" cap="flat">
            <a:solidFill>
              <a:srgbClr val="74748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3" name="Freeform 17">
            <a:extLst>
              <a:ext uri="{FF2B5EF4-FFF2-40B4-BE49-F238E27FC236}">
                <a16:creationId xmlns:a16="http://schemas.microsoft.com/office/drawing/2014/main" id="{26EB76D5-7537-4808-BE7E-0FC9CCE11925}"/>
              </a:ext>
            </a:extLst>
          </p:cNvPr>
          <p:cNvSpPr>
            <a:spLocks/>
          </p:cNvSpPr>
          <p:nvPr userDrawn="1"/>
        </p:nvSpPr>
        <p:spPr bwMode="auto">
          <a:xfrm>
            <a:off x="3338514" y="2239657"/>
            <a:ext cx="4014786" cy="574227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R="0" lvl="0" indent="0" algn="ctr" defTabSz="100794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2800" b="1" i="0" u="none" strike="noStrike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</a:rPr>
              <a:t>This is to certify that</a:t>
            </a:r>
            <a:endParaRPr kumimoji="0" lang="en-GB" sz="2800" b="1" i="0" u="none" strike="noStrike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</a:endParaRPr>
          </a:p>
        </p:txBody>
      </p:sp>
      <p:sp>
        <p:nvSpPr>
          <p:cNvPr id="166" name="Subtitle 2">
            <a:extLst>
              <a:ext uri="{FF2B5EF4-FFF2-40B4-BE49-F238E27FC236}">
                <a16:creationId xmlns:a16="http://schemas.microsoft.com/office/drawing/2014/main" id="{0008E2B0-8C2A-41AF-96F4-19FD43337F99}"/>
              </a:ext>
            </a:extLst>
          </p:cNvPr>
          <p:cNvSpPr txBox="1">
            <a:spLocks/>
          </p:cNvSpPr>
          <p:nvPr userDrawn="1"/>
        </p:nvSpPr>
        <p:spPr>
          <a:xfrm>
            <a:off x="2214400" y="3905056"/>
            <a:ext cx="6263014" cy="928572"/>
          </a:xfrm>
          <a:prstGeom prst="rect">
            <a:avLst/>
          </a:prstGeom>
        </p:spPr>
        <p:txBody>
          <a:bodyPr vert="horz" lIns="80189" tIns="40095" rIns="80189" bIns="40095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07943">
              <a:lnSpc>
                <a:spcPct val="100000"/>
              </a:lnSpc>
              <a:spcBef>
                <a:spcPct val="0"/>
              </a:spcBef>
            </a:pP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is a global </a:t>
            </a:r>
            <a:r>
              <a:rPr lang="en-GB" sz="2800" b="1" dirty="0">
                <a:latin typeface="EYInterstate" panose="02000503020000020004" pitchFamily="2" charset="0"/>
                <a:ea typeface="+mj-ea"/>
                <a:cs typeface="+mj-cs"/>
              </a:rPr>
              <a:t>finalist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 in the 2022 Better Working World Data Challenge</a:t>
            </a:r>
            <a:b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</a:br>
            <a:endParaRPr lang="en-GB" dirty="0">
              <a:latin typeface="EYInterstate Light" panose="02000506000000020004" pitchFamily="2" charset="0"/>
              <a:ea typeface="+mj-ea"/>
              <a:cs typeface="+mj-cs"/>
            </a:endParaRPr>
          </a:p>
        </p:txBody>
      </p:sp>
      <p:sp>
        <p:nvSpPr>
          <p:cNvPr id="167" name="Title 35">
            <a:extLst>
              <a:ext uri="{FF2B5EF4-FFF2-40B4-BE49-F238E27FC236}">
                <a16:creationId xmlns:a16="http://schemas.microsoft.com/office/drawing/2014/main" id="{E99C4E33-460E-455E-BE5F-18795CB92B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4400" y="3201833"/>
            <a:ext cx="6263014" cy="574258"/>
          </a:xfrm>
        </p:spPr>
        <p:txBody>
          <a:bodyPr>
            <a:normAutofit/>
          </a:bodyPr>
          <a:lstStyle>
            <a:lvl1pPr algn="ctr">
              <a:defRPr sz="3500" b="1">
                <a:latin typeface="EYInterstate" panose="02000503020000020004" pitchFamily="2" charset="0"/>
              </a:defRPr>
            </a:lvl1pPr>
          </a:lstStyle>
          <a:p>
            <a:r>
              <a:rPr lang="en-US" dirty="0"/>
              <a:t>[Insert Name Here]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5307B001-A857-4A97-B110-28C358E21379}"/>
              </a:ext>
            </a:extLst>
          </p:cNvPr>
          <p:cNvSpPr txBox="1">
            <a:spLocks/>
          </p:cNvSpPr>
          <p:nvPr userDrawn="1"/>
        </p:nvSpPr>
        <p:spPr>
          <a:xfrm>
            <a:off x="569746" y="6165616"/>
            <a:ext cx="330778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Beatriz Sanz Saiz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Global Data &amp; Analytics Leader, EY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E28881B7-9B56-45C9-8F51-5B4E7B548053}"/>
              </a:ext>
            </a:extLst>
          </p:cNvPr>
          <p:cNvSpPr txBox="1">
            <a:spLocks/>
          </p:cNvSpPr>
          <p:nvPr userDrawn="1"/>
        </p:nvSpPr>
        <p:spPr>
          <a:xfrm>
            <a:off x="7081583" y="6165617"/>
            <a:ext cx="3040484" cy="461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Alexandros Papaspyridis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Director, Higher Education, Microsoft</a:t>
            </a:r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EE756391-C984-4279-B19F-5D6A5E90CB8D}"/>
              </a:ext>
            </a:extLst>
          </p:cNvPr>
          <p:cNvCxnSpPr>
            <a:cxnSpLocks/>
          </p:cNvCxnSpPr>
          <p:nvPr userDrawn="1"/>
        </p:nvCxnSpPr>
        <p:spPr>
          <a:xfrm>
            <a:off x="2214400" y="3795622"/>
            <a:ext cx="6263014" cy="0"/>
          </a:xfrm>
          <a:prstGeom prst="line">
            <a:avLst/>
          </a:prstGeom>
          <a:ln w="28575">
            <a:solidFill>
              <a:srgbClr val="FFE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03382338-D59F-43D1-BDD6-CEB9B868029F}"/>
              </a:ext>
            </a:extLst>
          </p:cNvPr>
          <p:cNvCxnSpPr>
            <a:cxnSpLocks/>
          </p:cNvCxnSpPr>
          <p:nvPr userDrawn="1"/>
        </p:nvCxnSpPr>
        <p:spPr>
          <a:xfrm>
            <a:off x="569746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32A08271-3DEB-49A4-B899-7C61600D1DC4}"/>
              </a:ext>
            </a:extLst>
          </p:cNvPr>
          <p:cNvCxnSpPr>
            <a:cxnSpLocks/>
          </p:cNvCxnSpPr>
          <p:nvPr userDrawn="1"/>
        </p:nvCxnSpPr>
        <p:spPr>
          <a:xfrm>
            <a:off x="7081582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0" name="Group 4">
            <a:extLst>
              <a:ext uri="{FF2B5EF4-FFF2-40B4-BE49-F238E27FC236}">
                <a16:creationId xmlns:a16="http://schemas.microsoft.com/office/drawing/2014/main" id="{5044809D-1320-4B48-BEF6-F0C62017E5D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22844" y="561618"/>
            <a:ext cx="1080000" cy="1282704"/>
            <a:chOff x="4857" y="3364"/>
            <a:chExt cx="622" cy="729"/>
          </a:xfrm>
        </p:grpSpPr>
        <p:sp>
          <p:nvSpPr>
            <p:cNvPr id="171" name="AutoShape 3">
              <a:extLst>
                <a:ext uri="{FF2B5EF4-FFF2-40B4-BE49-F238E27FC236}">
                  <a16:creationId xmlns:a16="http://schemas.microsoft.com/office/drawing/2014/main" id="{5E7BEA53-1940-4BF4-8134-CD6ACFEA8F54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2" name="Freeform 5">
              <a:extLst>
                <a:ext uri="{FF2B5EF4-FFF2-40B4-BE49-F238E27FC236}">
                  <a16:creationId xmlns:a16="http://schemas.microsoft.com/office/drawing/2014/main" id="{6C5F8E9B-E8EE-4952-B94D-B8424625C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3" name="Freeform 6">
              <a:extLst>
                <a:ext uri="{FF2B5EF4-FFF2-40B4-BE49-F238E27FC236}">
                  <a16:creationId xmlns:a16="http://schemas.microsoft.com/office/drawing/2014/main" id="{9D49455B-7C03-472F-8E9A-1ED96B78BC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moveTo>
                    <a:pt x="152" y="1823"/>
                  </a:moveTo>
                  <a:moveTo>
                    <a:pt x="151" y="1685"/>
                  </a:moveTo>
                  <a:moveTo>
                    <a:pt x="298" y="1778"/>
                  </a:moveTo>
                  <a:moveTo>
                    <a:pt x="1143" y="1874"/>
                  </a:moveTo>
                  <a:moveTo>
                    <a:pt x="597" y="1755"/>
                  </a:moveTo>
                  <a:moveTo>
                    <a:pt x="646" y="1585"/>
                  </a:moveTo>
                  <a:moveTo>
                    <a:pt x="877" y="1666"/>
                  </a:moveTo>
                  <a:moveTo>
                    <a:pt x="838" y="1829"/>
                  </a:moveTo>
                  <a:moveTo>
                    <a:pt x="2084" y="1645"/>
                  </a:moveTo>
                  <a:moveTo>
                    <a:pt x="2074" y="1696"/>
                  </a:moveTo>
                  <a:moveTo>
                    <a:pt x="1455" y="1666"/>
                  </a:moveTo>
                  <a:moveTo>
                    <a:pt x="1455" y="1719"/>
                  </a:moveTo>
                  <a:moveTo>
                    <a:pt x="1683" y="1705"/>
                  </a:moveTo>
                  <a:moveTo>
                    <a:pt x="1698" y="1800"/>
                  </a:moveTo>
                  <a:moveTo>
                    <a:pt x="2350" y="1810"/>
                  </a:moveTo>
                  <a:moveTo>
                    <a:pt x="2257" y="1739"/>
                  </a:moveTo>
                  <a:moveTo>
                    <a:pt x="2884" y="1810"/>
                  </a:moveTo>
                  <a:moveTo>
                    <a:pt x="2791" y="1739"/>
                  </a:moveTo>
                  <a:moveTo>
                    <a:pt x="2658" y="1797"/>
                  </a:moveTo>
                  <a:moveTo>
                    <a:pt x="2550" y="1869"/>
                  </a:moveTo>
                  <a:moveTo>
                    <a:pt x="3096" y="1713"/>
                  </a:moveTo>
                  <a:moveTo>
                    <a:pt x="597" y="1591"/>
                  </a:moveTo>
                  <a:moveTo>
                    <a:pt x="981" y="1651"/>
                  </a:moveTo>
                  <a:moveTo>
                    <a:pt x="1037" y="1591"/>
                  </a:moveTo>
                  <a:moveTo>
                    <a:pt x="2558" y="2058"/>
                  </a:moveTo>
                  <a:moveTo>
                    <a:pt x="2519" y="2220"/>
                  </a:moveTo>
                  <a:moveTo>
                    <a:pt x="677" y="2105"/>
                  </a:moveTo>
                  <a:moveTo>
                    <a:pt x="242" y="2042"/>
                  </a:moveTo>
                  <a:moveTo>
                    <a:pt x="409" y="2037"/>
                  </a:moveTo>
                  <a:moveTo>
                    <a:pt x="409" y="2219"/>
                  </a:moveTo>
                  <a:moveTo>
                    <a:pt x="2285" y="2105"/>
                  </a:moveTo>
                  <a:moveTo>
                    <a:pt x="1850" y="2042"/>
                  </a:moveTo>
                  <a:moveTo>
                    <a:pt x="2016" y="2037"/>
                  </a:moveTo>
                  <a:moveTo>
                    <a:pt x="2016" y="2219"/>
                  </a:moveTo>
                  <a:moveTo>
                    <a:pt x="843" y="2116"/>
                  </a:moveTo>
                  <a:moveTo>
                    <a:pt x="1105" y="2266"/>
                  </a:moveTo>
                  <a:moveTo>
                    <a:pt x="1418" y="2058"/>
                  </a:moveTo>
                  <a:moveTo>
                    <a:pt x="1418" y="2110"/>
                  </a:moveTo>
                  <a:moveTo>
                    <a:pt x="945" y="2042"/>
                  </a:moveTo>
                  <a:moveTo>
                    <a:pt x="1000" y="1982"/>
                  </a:moveTo>
                  <a:moveTo>
                    <a:pt x="2325" y="1977"/>
                  </a:moveTo>
                  <a:moveTo>
                    <a:pt x="400" y="762"/>
                  </a:moveTo>
                  <a:moveTo>
                    <a:pt x="1702" y="0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</p:grpSp>
      <p:pic>
        <p:nvPicPr>
          <p:cNvPr id="174" name="Graphic 173">
            <a:extLst>
              <a:ext uri="{FF2B5EF4-FFF2-40B4-BE49-F238E27FC236}">
                <a16:creationId xmlns:a16="http://schemas.microsoft.com/office/drawing/2014/main" id="{16EC7F8A-510D-47E1-8C81-E7D29DC71A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07157" y="808302"/>
            <a:ext cx="2367926" cy="505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154797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277C381A-4832-44EF-BC1F-D344FAAAD711}"/>
              </a:ext>
            </a:extLst>
          </p:cNvPr>
          <p:cNvSpPr>
            <a:spLocks/>
          </p:cNvSpPr>
          <p:nvPr userDrawn="1"/>
        </p:nvSpPr>
        <p:spPr>
          <a:xfrm>
            <a:off x="334018" y="2544457"/>
            <a:ext cx="10035533" cy="2484743"/>
          </a:xfrm>
          <a:prstGeom prst="rect">
            <a:avLst/>
          </a:prstGeom>
          <a:solidFill>
            <a:srgbClr val="74748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12B493B2-599A-4B17-80A7-BBD29BB1835A}"/>
              </a:ext>
            </a:extLst>
          </p:cNvPr>
          <p:cNvSpPr txBox="1">
            <a:spLocks/>
          </p:cNvSpPr>
          <p:nvPr userDrawn="1"/>
        </p:nvSpPr>
        <p:spPr>
          <a:xfrm>
            <a:off x="334018" y="6862306"/>
            <a:ext cx="10050463" cy="369332"/>
          </a:xfrm>
          <a:prstGeom prst="rect">
            <a:avLst/>
          </a:prstGeom>
          <a:solidFill>
            <a:srgbClr val="FFE600"/>
          </a:solidFill>
        </p:spPr>
        <p:txBody>
          <a:bodyPr wrap="square">
            <a:spAutoFit/>
          </a:bodyPr>
          <a:lstStyle/>
          <a:p>
            <a:pPr algn="ctr"/>
            <a:r>
              <a:rPr lang="en-GB" sz="1800" b="0" dirty="0">
                <a:solidFill>
                  <a:schemeClr val="tx1"/>
                </a:solidFill>
                <a:latin typeface="EYInterstate" panose="02000503020000020004" pitchFamily="2" charset="0"/>
              </a:rPr>
              <a:t>Don’t just predict the future. Build a better one. </a:t>
            </a:r>
          </a:p>
        </p:txBody>
      </p:sp>
      <p:sp>
        <p:nvSpPr>
          <p:cNvPr id="16" name="Rectangle 8">
            <a:extLst>
              <a:ext uri="{FF2B5EF4-FFF2-40B4-BE49-F238E27FC236}">
                <a16:creationId xmlns:a16="http://schemas.microsoft.com/office/drawing/2014/main" id="{3F42BA56-CAE3-41F7-9275-0DB1B2158BD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19088" y="322263"/>
            <a:ext cx="10050463" cy="7019925"/>
          </a:xfrm>
          <a:prstGeom prst="rect">
            <a:avLst/>
          </a:prstGeom>
          <a:noFill/>
          <a:ln w="23813" cap="flat">
            <a:solidFill>
              <a:srgbClr val="74748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3" name="Freeform 17">
            <a:extLst>
              <a:ext uri="{FF2B5EF4-FFF2-40B4-BE49-F238E27FC236}">
                <a16:creationId xmlns:a16="http://schemas.microsoft.com/office/drawing/2014/main" id="{26EB76D5-7537-4808-BE7E-0FC9CCE11925}"/>
              </a:ext>
            </a:extLst>
          </p:cNvPr>
          <p:cNvSpPr>
            <a:spLocks/>
          </p:cNvSpPr>
          <p:nvPr userDrawn="1"/>
        </p:nvSpPr>
        <p:spPr bwMode="auto">
          <a:xfrm>
            <a:off x="3338514" y="2239657"/>
            <a:ext cx="4014786" cy="574227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R="0" lvl="0" indent="0" algn="ctr" defTabSz="100794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2800" b="1" i="0" u="none" strike="noStrike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</a:rPr>
              <a:t>This is to certify that</a:t>
            </a:r>
            <a:endParaRPr kumimoji="0" lang="en-GB" sz="2800" b="1" i="0" u="none" strike="noStrike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</a:endParaRPr>
          </a:p>
        </p:txBody>
      </p:sp>
      <p:sp>
        <p:nvSpPr>
          <p:cNvPr id="166" name="Subtitle 2">
            <a:extLst>
              <a:ext uri="{FF2B5EF4-FFF2-40B4-BE49-F238E27FC236}">
                <a16:creationId xmlns:a16="http://schemas.microsoft.com/office/drawing/2014/main" id="{0008E2B0-8C2A-41AF-96F4-19FD43337F99}"/>
              </a:ext>
            </a:extLst>
          </p:cNvPr>
          <p:cNvSpPr txBox="1">
            <a:spLocks/>
          </p:cNvSpPr>
          <p:nvPr userDrawn="1"/>
        </p:nvSpPr>
        <p:spPr>
          <a:xfrm>
            <a:off x="2214400" y="3905056"/>
            <a:ext cx="6263014" cy="928572"/>
          </a:xfrm>
          <a:prstGeom prst="rect">
            <a:avLst/>
          </a:prstGeom>
        </p:spPr>
        <p:txBody>
          <a:bodyPr vert="horz" lIns="80189" tIns="40095" rIns="80189" bIns="40095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07943">
              <a:lnSpc>
                <a:spcPct val="100000"/>
              </a:lnSpc>
              <a:spcBef>
                <a:spcPct val="0"/>
              </a:spcBef>
            </a:pP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is a global </a:t>
            </a:r>
            <a:r>
              <a:rPr lang="en-GB" sz="2800" b="1" dirty="0">
                <a:latin typeface="EYInterstate" panose="02000503020000020004" pitchFamily="2" charset="0"/>
                <a:ea typeface="+mj-ea"/>
                <a:cs typeface="+mj-cs"/>
              </a:rPr>
              <a:t>runner-up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 in the 2022 Better Working World Data Challenge</a:t>
            </a:r>
            <a:b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</a:br>
            <a:endParaRPr lang="en-GB" dirty="0">
              <a:latin typeface="EYInterstate Light" panose="02000506000000020004" pitchFamily="2" charset="0"/>
              <a:ea typeface="+mj-ea"/>
              <a:cs typeface="+mj-cs"/>
            </a:endParaRPr>
          </a:p>
        </p:txBody>
      </p:sp>
      <p:sp>
        <p:nvSpPr>
          <p:cNvPr id="167" name="Title 35">
            <a:extLst>
              <a:ext uri="{FF2B5EF4-FFF2-40B4-BE49-F238E27FC236}">
                <a16:creationId xmlns:a16="http://schemas.microsoft.com/office/drawing/2014/main" id="{E99C4E33-460E-455E-BE5F-18795CB92B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4400" y="3201833"/>
            <a:ext cx="6263014" cy="574258"/>
          </a:xfrm>
        </p:spPr>
        <p:txBody>
          <a:bodyPr>
            <a:normAutofit/>
          </a:bodyPr>
          <a:lstStyle>
            <a:lvl1pPr algn="ctr">
              <a:defRPr sz="3500" b="1">
                <a:latin typeface="EYInterstate" panose="02000503020000020004" pitchFamily="2" charset="0"/>
              </a:defRPr>
            </a:lvl1pPr>
          </a:lstStyle>
          <a:p>
            <a:r>
              <a:rPr lang="en-US" dirty="0"/>
              <a:t>[Insert Name Here]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5307B001-A857-4A97-B110-28C358E21379}"/>
              </a:ext>
            </a:extLst>
          </p:cNvPr>
          <p:cNvSpPr txBox="1">
            <a:spLocks/>
          </p:cNvSpPr>
          <p:nvPr userDrawn="1"/>
        </p:nvSpPr>
        <p:spPr>
          <a:xfrm>
            <a:off x="569746" y="6165616"/>
            <a:ext cx="330778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Beatriz Sanz Saiz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Global Data &amp; Analytics Leader, EY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E28881B7-9B56-45C9-8F51-5B4E7B548053}"/>
              </a:ext>
            </a:extLst>
          </p:cNvPr>
          <p:cNvSpPr txBox="1">
            <a:spLocks/>
          </p:cNvSpPr>
          <p:nvPr userDrawn="1"/>
        </p:nvSpPr>
        <p:spPr>
          <a:xfrm>
            <a:off x="7081583" y="6165617"/>
            <a:ext cx="3040484" cy="461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Alexandros Papaspyridis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Director, Higher Education, Microsoft</a:t>
            </a:r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EE756391-C984-4279-B19F-5D6A5E90CB8D}"/>
              </a:ext>
            </a:extLst>
          </p:cNvPr>
          <p:cNvCxnSpPr>
            <a:cxnSpLocks/>
          </p:cNvCxnSpPr>
          <p:nvPr userDrawn="1"/>
        </p:nvCxnSpPr>
        <p:spPr>
          <a:xfrm>
            <a:off x="2214400" y="3795622"/>
            <a:ext cx="6263014" cy="0"/>
          </a:xfrm>
          <a:prstGeom prst="line">
            <a:avLst/>
          </a:prstGeom>
          <a:ln w="28575">
            <a:solidFill>
              <a:srgbClr val="FFE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03382338-D59F-43D1-BDD6-CEB9B868029F}"/>
              </a:ext>
            </a:extLst>
          </p:cNvPr>
          <p:cNvCxnSpPr>
            <a:cxnSpLocks/>
          </p:cNvCxnSpPr>
          <p:nvPr userDrawn="1"/>
        </p:nvCxnSpPr>
        <p:spPr>
          <a:xfrm>
            <a:off x="569746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32A08271-3DEB-49A4-B899-7C61600D1DC4}"/>
              </a:ext>
            </a:extLst>
          </p:cNvPr>
          <p:cNvCxnSpPr>
            <a:cxnSpLocks/>
          </p:cNvCxnSpPr>
          <p:nvPr userDrawn="1"/>
        </p:nvCxnSpPr>
        <p:spPr>
          <a:xfrm>
            <a:off x="7081582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0" name="Group 4">
            <a:extLst>
              <a:ext uri="{FF2B5EF4-FFF2-40B4-BE49-F238E27FC236}">
                <a16:creationId xmlns:a16="http://schemas.microsoft.com/office/drawing/2014/main" id="{5044809D-1320-4B48-BEF6-F0C62017E5D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22844" y="561618"/>
            <a:ext cx="1080000" cy="1282704"/>
            <a:chOff x="4857" y="3364"/>
            <a:chExt cx="622" cy="729"/>
          </a:xfrm>
        </p:grpSpPr>
        <p:sp>
          <p:nvSpPr>
            <p:cNvPr id="171" name="AutoShape 3">
              <a:extLst>
                <a:ext uri="{FF2B5EF4-FFF2-40B4-BE49-F238E27FC236}">
                  <a16:creationId xmlns:a16="http://schemas.microsoft.com/office/drawing/2014/main" id="{5E7BEA53-1940-4BF4-8134-CD6ACFEA8F54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2" name="Freeform 5">
              <a:extLst>
                <a:ext uri="{FF2B5EF4-FFF2-40B4-BE49-F238E27FC236}">
                  <a16:creationId xmlns:a16="http://schemas.microsoft.com/office/drawing/2014/main" id="{6C5F8E9B-E8EE-4952-B94D-B8424625C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3" name="Freeform 6">
              <a:extLst>
                <a:ext uri="{FF2B5EF4-FFF2-40B4-BE49-F238E27FC236}">
                  <a16:creationId xmlns:a16="http://schemas.microsoft.com/office/drawing/2014/main" id="{9D49455B-7C03-472F-8E9A-1ED96B78BC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moveTo>
                    <a:pt x="152" y="1823"/>
                  </a:moveTo>
                  <a:moveTo>
                    <a:pt x="151" y="1685"/>
                  </a:moveTo>
                  <a:moveTo>
                    <a:pt x="298" y="1778"/>
                  </a:moveTo>
                  <a:moveTo>
                    <a:pt x="1143" y="1874"/>
                  </a:moveTo>
                  <a:moveTo>
                    <a:pt x="597" y="1755"/>
                  </a:moveTo>
                  <a:moveTo>
                    <a:pt x="646" y="1585"/>
                  </a:moveTo>
                  <a:moveTo>
                    <a:pt x="877" y="1666"/>
                  </a:moveTo>
                  <a:moveTo>
                    <a:pt x="838" y="1829"/>
                  </a:moveTo>
                  <a:moveTo>
                    <a:pt x="2084" y="1645"/>
                  </a:moveTo>
                  <a:moveTo>
                    <a:pt x="2074" y="1696"/>
                  </a:moveTo>
                  <a:moveTo>
                    <a:pt x="1455" y="1666"/>
                  </a:moveTo>
                  <a:moveTo>
                    <a:pt x="1455" y="1719"/>
                  </a:moveTo>
                  <a:moveTo>
                    <a:pt x="1683" y="1705"/>
                  </a:moveTo>
                  <a:moveTo>
                    <a:pt x="1698" y="1800"/>
                  </a:moveTo>
                  <a:moveTo>
                    <a:pt x="2350" y="1810"/>
                  </a:moveTo>
                  <a:moveTo>
                    <a:pt x="2257" y="1739"/>
                  </a:moveTo>
                  <a:moveTo>
                    <a:pt x="2884" y="1810"/>
                  </a:moveTo>
                  <a:moveTo>
                    <a:pt x="2791" y="1739"/>
                  </a:moveTo>
                  <a:moveTo>
                    <a:pt x="2658" y="1797"/>
                  </a:moveTo>
                  <a:moveTo>
                    <a:pt x="2550" y="1869"/>
                  </a:moveTo>
                  <a:moveTo>
                    <a:pt x="3096" y="1713"/>
                  </a:moveTo>
                  <a:moveTo>
                    <a:pt x="597" y="1591"/>
                  </a:moveTo>
                  <a:moveTo>
                    <a:pt x="981" y="1651"/>
                  </a:moveTo>
                  <a:moveTo>
                    <a:pt x="1037" y="1591"/>
                  </a:moveTo>
                  <a:moveTo>
                    <a:pt x="2558" y="2058"/>
                  </a:moveTo>
                  <a:moveTo>
                    <a:pt x="2519" y="2220"/>
                  </a:moveTo>
                  <a:moveTo>
                    <a:pt x="677" y="2105"/>
                  </a:moveTo>
                  <a:moveTo>
                    <a:pt x="242" y="2042"/>
                  </a:moveTo>
                  <a:moveTo>
                    <a:pt x="409" y="2037"/>
                  </a:moveTo>
                  <a:moveTo>
                    <a:pt x="409" y="2219"/>
                  </a:moveTo>
                  <a:moveTo>
                    <a:pt x="2285" y="2105"/>
                  </a:moveTo>
                  <a:moveTo>
                    <a:pt x="1850" y="2042"/>
                  </a:moveTo>
                  <a:moveTo>
                    <a:pt x="2016" y="2037"/>
                  </a:moveTo>
                  <a:moveTo>
                    <a:pt x="2016" y="2219"/>
                  </a:moveTo>
                  <a:moveTo>
                    <a:pt x="843" y="2116"/>
                  </a:moveTo>
                  <a:moveTo>
                    <a:pt x="1105" y="2266"/>
                  </a:moveTo>
                  <a:moveTo>
                    <a:pt x="1418" y="2058"/>
                  </a:moveTo>
                  <a:moveTo>
                    <a:pt x="1418" y="2110"/>
                  </a:moveTo>
                  <a:moveTo>
                    <a:pt x="945" y="2042"/>
                  </a:moveTo>
                  <a:moveTo>
                    <a:pt x="1000" y="1982"/>
                  </a:moveTo>
                  <a:moveTo>
                    <a:pt x="2325" y="1977"/>
                  </a:moveTo>
                  <a:moveTo>
                    <a:pt x="400" y="762"/>
                  </a:moveTo>
                  <a:moveTo>
                    <a:pt x="1702" y="0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</p:grpSp>
      <p:pic>
        <p:nvPicPr>
          <p:cNvPr id="174" name="Graphic 173">
            <a:extLst>
              <a:ext uri="{FF2B5EF4-FFF2-40B4-BE49-F238E27FC236}">
                <a16:creationId xmlns:a16="http://schemas.microsoft.com/office/drawing/2014/main" id="{16EC7F8A-510D-47E1-8C81-E7D29DC71A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07157" y="808302"/>
            <a:ext cx="2367926" cy="505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784680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277C381A-4832-44EF-BC1F-D344FAAAD711}"/>
              </a:ext>
            </a:extLst>
          </p:cNvPr>
          <p:cNvSpPr>
            <a:spLocks/>
          </p:cNvSpPr>
          <p:nvPr userDrawn="1"/>
        </p:nvSpPr>
        <p:spPr>
          <a:xfrm>
            <a:off x="334018" y="2544457"/>
            <a:ext cx="10035533" cy="2484743"/>
          </a:xfrm>
          <a:prstGeom prst="rect">
            <a:avLst/>
          </a:prstGeom>
          <a:solidFill>
            <a:srgbClr val="74748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12B493B2-599A-4B17-80A7-BBD29BB1835A}"/>
              </a:ext>
            </a:extLst>
          </p:cNvPr>
          <p:cNvSpPr txBox="1">
            <a:spLocks/>
          </p:cNvSpPr>
          <p:nvPr userDrawn="1"/>
        </p:nvSpPr>
        <p:spPr>
          <a:xfrm>
            <a:off x="334018" y="6862306"/>
            <a:ext cx="10050463" cy="369332"/>
          </a:xfrm>
          <a:prstGeom prst="rect">
            <a:avLst/>
          </a:prstGeom>
          <a:solidFill>
            <a:srgbClr val="FFE600"/>
          </a:solidFill>
        </p:spPr>
        <p:txBody>
          <a:bodyPr wrap="square">
            <a:spAutoFit/>
          </a:bodyPr>
          <a:lstStyle/>
          <a:p>
            <a:pPr algn="ctr"/>
            <a:r>
              <a:rPr lang="en-GB" sz="1800" b="0" dirty="0">
                <a:solidFill>
                  <a:schemeClr val="tx1"/>
                </a:solidFill>
                <a:latin typeface="EYInterstate" panose="02000503020000020004" pitchFamily="2" charset="0"/>
              </a:rPr>
              <a:t>Don’t just predict the future. Build a better one. </a:t>
            </a:r>
          </a:p>
        </p:txBody>
      </p:sp>
      <p:sp>
        <p:nvSpPr>
          <p:cNvPr id="16" name="Rectangle 8">
            <a:extLst>
              <a:ext uri="{FF2B5EF4-FFF2-40B4-BE49-F238E27FC236}">
                <a16:creationId xmlns:a16="http://schemas.microsoft.com/office/drawing/2014/main" id="{3F42BA56-CAE3-41F7-9275-0DB1B2158BD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19088" y="322263"/>
            <a:ext cx="10050463" cy="7019925"/>
          </a:xfrm>
          <a:prstGeom prst="rect">
            <a:avLst/>
          </a:prstGeom>
          <a:noFill/>
          <a:ln w="23813" cap="flat">
            <a:solidFill>
              <a:srgbClr val="74748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3" name="Freeform 17">
            <a:extLst>
              <a:ext uri="{FF2B5EF4-FFF2-40B4-BE49-F238E27FC236}">
                <a16:creationId xmlns:a16="http://schemas.microsoft.com/office/drawing/2014/main" id="{26EB76D5-7537-4808-BE7E-0FC9CCE11925}"/>
              </a:ext>
            </a:extLst>
          </p:cNvPr>
          <p:cNvSpPr>
            <a:spLocks/>
          </p:cNvSpPr>
          <p:nvPr userDrawn="1"/>
        </p:nvSpPr>
        <p:spPr bwMode="auto">
          <a:xfrm>
            <a:off x="3338514" y="2239657"/>
            <a:ext cx="4014786" cy="574227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R="0" lvl="0" indent="0" algn="ctr" defTabSz="100794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2800" b="1" i="0" u="none" strike="noStrike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</a:rPr>
              <a:t>This is to certify that</a:t>
            </a:r>
            <a:endParaRPr kumimoji="0" lang="en-GB" sz="2800" b="1" i="0" u="none" strike="noStrike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</a:endParaRPr>
          </a:p>
        </p:txBody>
      </p:sp>
      <p:sp>
        <p:nvSpPr>
          <p:cNvPr id="166" name="Subtitle 2">
            <a:extLst>
              <a:ext uri="{FF2B5EF4-FFF2-40B4-BE49-F238E27FC236}">
                <a16:creationId xmlns:a16="http://schemas.microsoft.com/office/drawing/2014/main" id="{0008E2B0-8C2A-41AF-96F4-19FD43337F99}"/>
              </a:ext>
            </a:extLst>
          </p:cNvPr>
          <p:cNvSpPr txBox="1">
            <a:spLocks/>
          </p:cNvSpPr>
          <p:nvPr userDrawn="1"/>
        </p:nvSpPr>
        <p:spPr>
          <a:xfrm>
            <a:off x="2214400" y="3905056"/>
            <a:ext cx="6263014" cy="928572"/>
          </a:xfrm>
          <a:prstGeom prst="rect">
            <a:avLst/>
          </a:prstGeom>
        </p:spPr>
        <p:txBody>
          <a:bodyPr vert="horz" lIns="80189" tIns="40095" rIns="80189" bIns="40095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07943">
              <a:lnSpc>
                <a:spcPct val="100000"/>
              </a:lnSpc>
              <a:spcBef>
                <a:spcPct val="0"/>
              </a:spcBef>
            </a:pP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is a global </a:t>
            </a:r>
            <a:r>
              <a:rPr lang="en-GB" sz="2800" b="1" dirty="0">
                <a:latin typeface="EYInterstate" panose="02000503020000020004" pitchFamily="2" charset="0"/>
                <a:ea typeface="+mj-ea"/>
                <a:cs typeface="+mj-cs"/>
              </a:rPr>
              <a:t>winner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 in the 2022 Better Working World Data Challenge</a:t>
            </a:r>
            <a:b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</a:br>
            <a:endParaRPr lang="en-GB" dirty="0">
              <a:latin typeface="EYInterstate Light" panose="02000506000000020004" pitchFamily="2" charset="0"/>
              <a:ea typeface="+mj-ea"/>
              <a:cs typeface="+mj-cs"/>
            </a:endParaRPr>
          </a:p>
        </p:txBody>
      </p:sp>
      <p:sp>
        <p:nvSpPr>
          <p:cNvPr id="167" name="Title 35">
            <a:extLst>
              <a:ext uri="{FF2B5EF4-FFF2-40B4-BE49-F238E27FC236}">
                <a16:creationId xmlns:a16="http://schemas.microsoft.com/office/drawing/2014/main" id="{E99C4E33-460E-455E-BE5F-18795CB92B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4400" y="3201833"/>
            <a:ext cx="6263014" cy="574258"/>
          </a:xfrm>
        </p:spPr>
        <p:txBody>
          <a:bodyPr>
            <a:normAutofit/>
          </a:bodyPr>
          <a:lstStyle>
            <a:lvl1pPr algn="ctr">
              <a:defRPr sz="3500" b="1">
                <a:latin typeface="EYInterstate" panose="02000503020000020004" pitchFamily="2" charset="0"/>
              </a:defRPr>
            </a:lvl1pPr>
          </a:lstStyle>
          <a:p>
            <a:r>
              <a:rPr lang="en-US" dirty="0"/>
              <a:t>[Insert Name Here]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5307B001-A857-4A97-B110-28C358E21379}"/>
              </a:ext>
            </a:extLst>
          </p:cNvPr>
          <p:cNvSpPr txBox="1">
            <a:spLocks/>
          </p:cNvSpPr>
          <p:nvPr userDrawn="1"/>
        </p:nvSpPr>
        <p:spPr>
          <a:xfrm>
            <a:off x="569746" y="6165616"/>
            <a:ext cx="330778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Beatriz Sanz Saiz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Global Data &amp; Analytics Leader, EY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E28881B7-9B56-45C9-8F51-5B4E7B548053}"/>
              </a:ext>
            </a:extLst>
          </p:cNvPr>
          <p:cNvSpPr txBox="1">
            <a:spLocks/>
          </p:cNvSpPr>
          <p:nvPr userDrawn="1"/>
        </p:nvSpPr>
        <p:spPr>
          <a:xfrm>
            <a:off x="7081583" y="6165617"/>
            <a:ext cx="3040484" cy="461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Alexandros Papaspyridis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Director, Higher Education, Microsoft</a:t>
            </a:r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EE756391-C984-4279-B19F-5D6A5E90CB8D}"/>
              </a:ext>
            </a:extLst>
          </p:cNvPr>
          <p:cNvCxnSpPr>
            <a:cxnSpLocks/>
          </p:cNvCxnSpPr>
          <p:nvPr userDrawn="1"/>
        </p:nvCxnSpPr>
        <p:spPr>
          <a:xfrm>
            <a:off x="2214400" y="3795622"/>
            <a:ext cx="6263014" cy="0"/>
          </a:xfrm>
          <a:prstGeom prst="line">
            <a:avLst/>
          </a:prstGeom>
          <a:ln w="28575">
            <a:solidFill>
              <a:srgbClr val="FFE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03382338-D59F-43D1-BDD6-CEB9B868029F}"/>
              </a:ext>
            </a:extLst>
          </p:cNvPr>
          <p:cNvCxnSpPr>
            <a:cxnSpLocks/>
          </p:cNvCxnSpPr>
          <p:nvPr userDrawn="1"/>
        </p:nvCxnSpPr>
        <p:spPr>
          <a:xfrm>
            <a:off x="569746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32A08271-3DEB-49A4-B899-7C61600D1DC4}"/>
              </a:ext>
            </a:extLst>
          </p:cNvPr>
          <p:cNvCxnSpPr>
            <a:cxnSpLocks/>
          </p:cNvCxnSpPr>
          <p:nvPr userDrawn="1"/>
        </p:nvCxnSpPr>
        <p:spPr>
          <a:xfrm>
            <a:off x="7081582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0" name="Group 4">
            <a:extLst>
              <a:ext uri="{FF2B5EF4-FFF2-40B4-BE49-F238E27FC236}">
                <a16:creationId xmlns:a16="http://schemas.microsoft.com/office/drawing/2014/main" id="{5044809D-1320-4B48-BEF6-F0C62017E5D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22844" y="561618"/>
            <a:ext cx="1080000" cy="1282704"/>
            <a:chOff x="4857" y="3364"/>
            <a:chExt cx="622" cy="729"/>
          </a:xfrm>
        </p:grpSpPr>
        <p:sp>
          <p:nvSpPr>
            <p:cNvPr id="171" name="AutoShape 3">
              <a:extLst>
                <a:ext uri="{FF2B5EF4-FFF2-40B4-BE49-F238E27FC236}">
                  <a16:creationId xmlns:a16="http://schemas.microsoft.com/office/drawing/2014/main" id="{5E7BEA53-1940-4BF4-8134-CD6ACFEA8F54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2" name="Freeform 5">
              <a:extLst>
                <a:ext uri="{FF2B5EF4-FFF2-40B4-BE49-F238E27FC236}">
                  <a16:creationId xmlns:a16="http://schemas.microsoft.com/office/drawing/2014/main" id="{6C5F8E9B-E8EE-4952-B94D-B8424625C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3" name="Freeform 6">
              <a:extLst>
                <a:ext uri="{FF2B5EF4-FFF2-40B4-BE49-F238E27FC236}">
                  <a16:creationId xmlns:a16="http://schemas.microsoft.com/office/drawing/2014/main" id="{9D49455B-7C03-472F-8E9A-1ED96B78BC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moveTo>
                    <a:pt x="152" y="1823"/>
                  </a:moveTo>
                  <a:moveTo>
                    <a:pt x="151" y="1685"/>
                  </a:moveTo>
                  <a:moveTo>
                    <a:pt x="298" y="1778"/>
                  </a:moveTo>
                  <a:moveTo>
                    <a:pt x="1143" y="1874"/>
                  </a:moveTo>
                  <a:moveTo>
                    <a:pt x="597" y="1755"/>
                  </a:moveTo>
                  <a:moveTo>
                    <a:pt x="646" y="1585"/>
                  </a:moveTo>
                  <a:moveTo>
                    <a:pt x="877" y="1666"/>
                  </a:moveTo>
                  <a:moveTo>
                    <a:pt x="838" y="1829"/>
                  </a:moveTo>
                  <a:moveTo>
                    <a:pt x="2084" y="1645"/>
                  </a:moveTo>
                  <a:moveTo>
                    <a:pt x="2074" y="1696"/>
                  </a:moveTo>
                  <a:moveTo>
                    <a:pt x="1455" y="1666"/>
                  </a:moveTo>
                  <a:moveTo>
                    <a:pt x="1455" y="1719"/>
                  </a:moveTo>
                  <a:moveTo>
                    <a:pt x="1683" y="1705"/>
                  </a:moveTo>
                  <a:moveTo>
                    <a:pt x="1698" y="1800"/>
                  </a:moveTo>
                  <a:moveTo>
                    <a:pt x="2350" y="1810"/>
                  </a:moveTo>
                  <a:moveTo>
                    <a:pt x="2257" y="1739"/>
                  </a:moveTo>
                  <a:moveTo>
                    <a:pt x="2884" y="1810"/>
                  </a:moveTo>
                  <a:moveTo>
                    <a:pt x="2791" y="1739"/>
                  </a:moveTo>
                  <a:moveTo>
                    <a:pt x="2658" y="1797"/>
                  </a:moveTo>
                  <a:moveTo>
                    <a:pt x="2550" y="1869"/>
                  </a:moveTo>
                  <a:moveTo>
                    <a:pt x="3096" y="1713"/>
                  </a:moveTo>
                  <a:moveTo>
                    <a:pt x="597" y="1591"/>
                  </a:moveTo>
                  <a:moveTo>
                    <a:pt x="981" y="1651"/>
                  </a:moveTo>
                  <a:moveTo>
                    <a:pt x="1037" y="1591"/>
                  </a:moveTo>
                  <a:moveTo>
                    <a:pt x="2558" y="2058"/>
                  </a:moveTo>
                  <a:moveTo>
                    <a:pt x="2519" y="2220"/>
                  </a:moveTo>
                  <a:moveTo>
                    <a:pt x="677" y="2105"/>
                  </a:moveTo>
                  <a:moveTo>
                    <a:pt x="242" y="2042"/>
                  </a:moveTo>
                  <a:moveTo>
                    <a:pt x="409" y="2037"/>
                  </a:moveTo>
                  <a:moveTo>
                    <a:pt x="409" y="2219"/>
                  </a:moveTo>
                  <a:moveTo>
                    <a:pt x="2285" y="2105"/>
                  </a:moveTo>
                  <a:moveTo>
                    <a:pt x="1850" y="2042"/>
                  </a:moveTo>
                  <a:moveTo>
                    <a:pt x="2016" y="2037"/>
                  </a:moveTo>
                  <a:moveTo>
                    <a:pt x="2016" y="2219"/>
                  </a:moveTo>
                  <a:moveTo>
                    <a:pt x="843" y="2116"/>
                  </a:moveTo>
                  <a:moveTo>
                    <a:pt x="1105" y="2266"/>
                  </a:moveTo>
                  <a:moveTo>
                    <a:pt x="1418" y="2058"/>
                  </a:moveTo>
                  <a:moveTo>
                    <a:pt x="1418" y="2110"/>
                  </a:moveTo>
                  <a:moveTo>
                    <a:pt x="945" y="2042"/>
                  </a:moveTo>
                  <a:moveTo>
                    <a:pt x="1000" y="1982"/>
                  </a:moveTo>
                  <a:moveTo>
                    <a:pt x="2325" y="1977"/>
                  </a:moveTo>
                  <a:moveTo>
                    <a:pt x="400" y="762"/>
                  </a:moveTo>
                  <a:moveTo>
                    <a:pt x="1702" y="0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</p:grpSp>
      <p:pic>
        <p:nvPicPr>
          <p:cNvPr id="174" name="Graphic 173">
            <a:extLst>
              <a:ext uri="{FF2B5EF4-FFF2-40B4-BE49-F238E27FC236}">
                <a16:creationId xmlns:a16="http://schemas.microsoft.com/office/drawing/2014/main" id="{16EC7F8A-510D-47E1-8C81-E7D29DC71A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07157" y="808302"/>
            <a:ext cx="2367926" cy="505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527928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2583D832-9DE7-4AF6-B54B-C93C0E1630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56341" y="137764"/>
            <a:ext cx="10179130" cy="7177167"/>
          </a:xfrm>
          <a:prstGeom prst="rect">
            <a:avLst/>
          </a:prstGeom>
        </p:spPr>
      </p:pic>
      <p:pic>
        <p:nvPicPr>
          <p:cNvPr id="174" name="Graphic 173">
            <a:extLst>
              <a:ext uri="{FF2B5EF4-FFF2-40B4-BE49-F238E27FC236}">
                <a16:creationId xmlns:a16="http://schemas.microsoft.com/office/drawing/2014/main" id="{16EC7F8A-510D-47E1-8C81-E7D29DC71A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07157" y="606500"/>
            <a:ext cx="2367926" cy="505789"/>
          </a:xfrm>
          <a:prstGeom prst="rect">
            <a:avLst/>
          </a:prstGeom>
        </p:spPr>
      </p:pic>
      <p:pic>
        <p:nvPicPr>
          <p:cNvPr id="22" name="Graphic 20">
            <a:extLst>
              <a:ext uri="{FF2B5EF4-FFF2-40B4-BE49-F238E27FC236}">
                <a16:creationId xmlns:a16="http://schemas.microsoft.com/office/drawing/2014/main" id="{2B2F2FDE-E459-4A2A-8BA3-B5A5C8D78AE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08589" y="1429950"/>
            <a:ext cx="2364691" cy="601960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B0055C33-19A3-4284-9469-1C43A404CD13}"/>
              </a:ext>
            </a:extLst>
          </p:cNvPr>
          <p:cNvSpPr>
            <a:spLocks/>
          </p:cNvSpPr>
          <p:nvPr userDrawn="1"/>
        </p:nvSpPr>
        <p:spPr>
          <a:xfrm>
            <a:off x="257270" y="2544457"/>
            <a:ext cx="10177272" cy="2484743"/>
          </a:xfrm>
          <a:prstGeom prst="rect">
            <a:avLst/>
          </a:prstGeom>
          <a:solidFill>
            <a:srgbClr val="74748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3" name="Freeform 17">
            <a:extLst>
              <a:ext uri="{FF2B5EF4-FFF2-40B4-BE49-F238E27FC236}">
                <a16:creationId xmlns:a16="http://schemas.microsoft.com/office/drawing/2014/main" id="{26EB76D5-7537-4808-BE7E-0FC9CCE11925}"/>
              </a:ext>
            </a:extLst>
          </p:cNvPr>
          <p:cNvSpPr>
            <a:spLocks/>
          </p:cNvSpPr>
          <p:nvPr userDrawn="1"/>
        </p:nvSpPr>
        <p:spPr bwMode="auto">
          <a:xfrm>
            <a:off x="3338514" y="2239657"/>
            <a:ext cx="4014786" cy="574227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s is to certify that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sp>
        <p:nvSpPr>
          <p:cNvPr id="166" name="Subtitle 2">
            <a:extLst>
              <a:ext uri="{FF2B5EF4-FFF2-40B4-BE49-F238E27FC236}">
                <a16:creationId xmlns:a16="http://schemas.microsoft.com/office/drawing/2014/main" id="{0008E2B0-8C2A-41AF-96F4-19FD43337F99}"/>
              </a:ext>
            </a:extLst>
          </p:cNvPr>
          <p:cNvSpPr txBox="1">
            <a:spLocks/>
          </p:cNvSpPr>
          <p:nvPr userDrawn="1"/>
        </p:nvSpPr>
        <p:spPr>
          <a:xfrm>
            <a:off x="2214400" y="3905056"/>
            <a:ext cx="6263014" cy="928572"/>
          </a:xfrm>
          <a:prstGeom prst="rect">
            <a:avLst/>
          </a:prstGeom>
        </p:spPr>
        <p:txBody>
          <a:bodyPr vert="horz" lIns="80189" tIns="40095" rIns="80189" bIns="40095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07943">
              <a:lnSpc>
                <a:spcPct val="100000"/>
              </a:lnSpc>
              <a:spcBef>
                <a:spcPct val="0"/>
              </a:spcBef>
            </a:pPr>
            <a:r>
              <a:rPr lang="en-IN" dirty="0">
                <a:latin typeface="EYInterstate Light" panose="02000506000000020004" pitchFamily="2" charset="0"/>
                <a:ea typeface="+mj-ea"/>
                <a:cs typeface="+mj-cs"/>
              </a:rPr>
              <a:t>successfully completed the 2023 Better Working World Data Challenge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.</a:t>
            </a:r>
          </a:p>
        </p:txBody>
      </p:sp>
      <p:sp>
        <p:nvSpPr>
          <p:cNvPr id="167" name="Title 35">
            <a:extLst>
              <a:ext uri="{FF2B5EF4-FFF2-40B4-BE49-F238E27FC236}">
                <a16:creationId xmlns:a16="http://schemas.microsoft.com/office/drawing/2014/main" id="{E99C4E33-460E-455E-BE5F-18795CB92B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4400" y="3201833"/>
            <a:ext cx="6263014" cy="574258"/>
          </a:xfrm>
        </p:spPr>
        <p:txBody>
          <a:bodyPr>
            <a:normAutofit/>
          </a:bodyPr>
          <a:lstStyle>
            <a:lvl1pPr algn="ctr">
              <a:defRPr sz="3500" b="1">
                <a:latin typeface="EYInterstate" panose="02000503020000020004" pitchFamily="2" charset="0"/>
              </a:defRPr>
            </a:lvl1pPr>
          </a:lstStyle>
          <a:p>
            <a:r>
              <a:rPr lang="en-US" dirty="0"/>
              <a:t>[Insert Name Here]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5307B001-A857-4A97-B110-28C358E21379}"/>
              </a:ext>
            </a:extLst>
          </p:cNvPr>
          <p:cNvSpPr txBox="1">
            <a:spLocks/>
          </p:cNvSpPr>
          <p:nvPr userDrawn="1"/>
        </p:nvSpPr>
        <p:spPr>
          <a:xfrm>
            <a:off x="569746" y="6165616"/>
            <a:ext cx="330778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Beatriz Sanz Saiz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EY Global Data &amp; Analytics Leader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E28881B7-9B56-45C9-8F51-5B4E7B548053}"/>
              </a:ext>
            </a:extLst>
          </p:cNvPr>
          <p:cNvSpPr txBox="1">
            <a:spLocks/>
          </p:cNvSpPr>
          <p:nvPr userDrawn="1"/>
        </p:nvSpPr>
        <p:spPr>
          <a:xfrm>
            <a:off x="7081583" y="6165617"/>
            <a:ext cx="3040484" cy="461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Alexandros Papaspyridis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Director, Higher Education, Microsoft</a:t>
            </a: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12B493B2-599A-4B17-80A7-BBD29BB1835A}"/>
              </a:ext>
            </a:extLst>
          </p:cNvPr>
          <p:cNvSpPr txBox="1">
            <a:spLocks/>
          </p:cNvSpPr>
          <p:nvPr userDrawn="1"/>
        </p:nvSpPr>
        <p:spPr>
          <a:xfrm>
            <a:off x="257270" y="6945599"/>
            <a:ext cx="10177272" cy="369332"/>
          </a:xfrm>
          <a:prstGeom prst="rect">
            <a:avLst/>
          </a:prstGeom>
          <a:solidFill>
            <a:srgbClr val="2E2E38"/>
          </a:solidFill>
        </p:spPr>
        <p:txBody>
          <a:bodyPr wrap="square">
            <a:spAutoFit/>
          </a:bodyPr>
          <a:lstStyle/>
          <a:p>
            <a:pPr algn="ctr"/>
            <a:r>
              <a:rPr lang="en-GB" sz="1800" b="0" dirty="0">
                <a:solidFill>
                  <a:srgbClr val="FFE600"/>
                </a:solidFill>
                <a:latin typeface="EYInterstate" panose="02000503020000020004" pitchFamily="2" charset="0"/>
              </a:rPr>
              <a:t>Don’t just predict the future. Build a better one. </a:t>
            </a:r>
          </a:p>
        </p:txBody>
      </p:sp>
      <p:sp>
        <p:nvSpPr>
          <p:cNvPr id="25" name="Slide Number Placeholder 3">
            <a:extLst>
              <a:ext uri="{FF2B5EF4-FFF2-40B4-BE49-F238E27FC236}">
                <a16:creationId xmlns:a16="http://schemas.microsoft.com/office/drawing/2014/main" id="{1F2BB68D-F8A9-44D7-A9A7-79F066CFE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674762" y="7314931"/>
            <a:ext cx="3854125" cy="402483"/>
          </a:xfrm>
        </p:spPr>
        <p:txBody>
          <a:bodyPr/>
          <a:lstStyle>
            <a:lvl1pPr>
              <a:defRPr sz="900"/>
            </a:lvl1pPr>
          </a:lstStyle>
          <a:p>
            <a:r>
              <a:rPr lang="en-US" dirty="0">
                <a:solidFill>
                  <a:srgbClr val="444444"/>
                </a:solidFill>
                <a:latin typeface="Segoe UI" panose="020B0502040204020203" pitchFamily="34" charset="0"/>
              </a:rPr>
              <a:t>© 2023 EYGM Limited. All Rights Reserved.</a:t>
            </a:r>
            <a:endParaRPr lang="en-GB" dirty="0"/>
          </a:p>
          <a:p>
            <a:endParaRPr lang="en-GB" dirty="0"/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EE756391-C984-4279-B19F-5D6A5E90CB8D}"/>
              </a:ext>
            </a:extLst>
          </p:cNvPr>
          <p:cNvCxnSpPr>
            <a:cxnSpLocks/>
          </p:cNvCxnSpPr>
          <p:nvPr userDrawn="1"/>
        </p:nvCxnSpPr>
        <p:spPr>
          <a:xfrm>
            <a:off x="2214400" y="3795622"/>
            <a:ext cx="6263014" cy="0"/>
          </a:xfrm>
          <a:prstGeom prst="line">
            <a:avLst/>
          </a:prstGeom>
          <a:ln w="28575">
            <a:solidFill>
              <a:srgbClr val="FFE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03382338-D59F-43D1-BDD6-CEB9B868029F}"/>
              </a:ext>
            </a:extLst>
          </p:cNvPr>
          <p:cNvCxnSpPr>
            <a:cxnSpLocks/>
          </p:cNvCxnSpPr>
          <p:nvPr userDrawn="1"/>
        </p:nvCxnSpPr>
        <p:spPr>
          <a:xfrm>
            <a:off x="569746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32A08271-3DEB-49A4-B899-7C61600D1DC4}"/>
              </a:ext>
            </a:extLst>
          </p:cNvPr>
          <p:cNvCxnSpPr>
            <a:cxnSpLocks/>
          </p:cNvCxnSpPr>
          <p:nvPr userDrawn="1"/>
        </p:nvCxnSpPr>
        <p:spPr>
          <a:xfrm>
            <a:off x="7081582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0" name="Group 4">
            <a:extLst>
              <a:ext uri="{FF2B5EF4-FFF2-40B4-BE49-F238E27FC236}">
                <a16:creationId xmlns:a16="http://schemas.microsoft.com/office/drawing/2014/main" id="{5044809D-1320-4B48-BEF6-F0C62017E5D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22844" y="561618"/>
            <a:ext cx="1080000" cy="1282704"/>
            <a:chOff x="4857" y="3364"/>
            <a:chExt cx="622" cy="729"/>
          </a:xfrm>
        </p:grpSpPr>
        <p:sp>
          <p:nvSpPr>
            <p:cNvPr id="171" name="AutoShape 3">
              <a:extLst>
                <a:ext uri="{FF2B5EF4-FFF2-40B4-BE49-F238E27FC236}">
                  <a16:creationId xmlns:a16="http://schemas.microsoft.com/office/drawing/2014/main" id="{5E7BEA53-1940-4BF4-8134-CD6ACFEA8F54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2" name="Freeform 5">
              <a:extLst>
                <a:ext uri="{FF2B5EF4-FFF2-40B4-BE49-F238E27FC236}">
                  <a16:creationId xmlns:a16="http://schemas.microsoft.com/office/drawing/2014/main" id="{6C5F8E9B-E8EE-4952-B94D-B8424625C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3" name="Freeform 6">
              <a:extLst>
                <a:ext uri="{FF2B5EF4-FFF2-40B4-BE49-F238E27FC236}">
                  <a16:creationId xmlns:a16="http://schemas.microsoft.com/office/drawing/2014/main" id="{9D49455B-7C03-472F-8E9A-1ED96B78BC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moveTo>
                    <a:pt x="152" y="1823"/>
                  </a:moveTo>
                  <a:moveTo>
                    <a:pt x="151" y="1685"/>
                  </a:moveTo>
                  <a:moveTo>
                    <a:pt x="298" y="1778"/>
                  </a:moveTo>
                  <a:moveTo>
                    <a:pt x="1143" y="1874"/>
                  </a:moveTo>
                  <a:moveTo>
                    <a:pt x="597" y="1755"/>
                  </a:moveTo>
                  <a:moveTo>
                    <a:pt x="646" y="1585"/>
                  </a:moveTo>
                  <a:moveTo>
                    <a:pt x="877" y="1666"/>
                  </a:moveTo>
                  <a:moveTo>
                    <a:pt x="838" y="1829"/>
                  </a:moveTo>
                  <a:moveTo>
                    <a:pt x="2084" y="1645"/>
                  </a:moveTo>
                  <a:moveTo>
                    <a:pt x="2074" y="1696"/>
                  </a:moveTo>
                  <a:moveTo>
                    <a:pt x="1455" y="1666"/>
                  </a:moveTo>
                  <a:moveTo>
                    <a:pt x="1455" y="1719"/>
                  </a:moveTo>
                  <a:moveTo>
                    <a:pt x="1683" y="1705"/>
                  </a:moveTo>
                  <a:moveTo>
                    <a:pt x="1698" y="1800"/>
                  </a:moveTo>
                  <a:moveTo>
                    <a:pt x="2350" y="1810"/>
                  </a:moveTo>
                  <a:moveTo>
                    <a:pt x="2257" y="1739"/>
                  </a:moveTo>
                  <a:moveTo>
                    <a:pt x="2884" y="1810"/>
                  </a:moveTo>
                  <a:moveTo>
                    <a:pt x="2791" y="1739"/>
                  </a:moveTo>
                  <a:moveTo>
                    <a:pt x="2658" y="1797"/>
                  </a:moveTo>
                  <a:moveTo>
                    <a:pt x="2550" y="1869"/>
                  </a:moveTo>
                  <a:moveTo>
                    <a:pt x="3096" y="1713"/>
                  </a:moveTo>
                  <a:moveTo>
                    <a:pt x="597" y="1591"/>
                  </a:moveTo>
                  <a:moveTo>
                    <a:pt x="981" y="1651"/>
                  </a:moveTo>
                  <a:moveTo>
                    <a:pt x="1037" y="1591"/>
                  </a:moveTo>
                  <a:moveTo>
                    <a:pt x="2558" y="2058"/>
                  </a:moveTo>
                  <a:moveTo>
                    <a:pt x="2519" y="2220"/>
                  </a:moveTo>
                  <a:moveTo>
                    <a:pt x="677" y="2105"/>
                  </a:moveTo>
                  <a:moveTo>
                    <a:pt x="242" y="2042"/>
                  </a:moveTo>
                  <a:moveTo>
                    <a:pt x="409" y="2037"/>
                  </a:moveTo>
                  <a:moveTo>
                    <a:pt x="409" y="2219"/>
                  </a:moveTo>
                  <a:moveTo>
                    <a:pt x="2285" y="2105"/>
                  </a:moveTo>
                  <a:moveTo>
                    <a:pt x="1850" y="2042"/>
                  </a:moveTo>
                  <a:moveTo>
                    <a:pt x="2016" y="2037"/>
                  </a:moveTo>
                  <a:moveTo>
                    <a:pt x="2016" y="2219"/>
                  </a:moveTo>
                  <a:moveTo>
                    <a:pt x="843" y="2116"/>
                  </a:moveTo>
                  <a:moveTo>
                    <a:pt x="1105" y="2266"/>
                  </a:moveTo>
                  <a:moveTo>
                    <a:pt x="1418" y="2058"/>
                  </a:moveTo>
                  <a:moveTo>
                    <a:pt x="1418" y="2110"/>
                  </a:moveTo>
                  <a:moveTo>
                    <a:pt x="945" y="2042"/>
                  </a:moveTo>
                  <a:moveTo>
                    <a:pt x="1000" y="1982"/>
                  </a:moveTo>
                  <a:moveTo>
                    <a:pt x="2325" y="1977"/>
                  </a:moveTo>
                  <a:moveTo>
                    <a:pt x="400" y="762"/>
                  </a:moveTo>
                  <a:moveTo>
                    <a:pt x="1702" y="0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</p:grpSp>
    </p:spTree>
    <p:extLst>
      <p:ext uri="{BB962C8B-B14F-4D97-AF65-F5344CB8AC3E}">
        <p14:creationId xmlns:p14="http://schemas.microsoft.com/office/powerpoint/2010/main" val="31112297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Subtitle 2">
            <a:extLst>
              <a:ext uri="{FF2B5EF4-FFF2-40B4-BE49-F238E27FC236}">
                <a16:creationId xmlns:a16="http://schemas.microsoft.com/office/drawing/2014/main" id="{0008E2B0-8C2A-41AF-96F4-19FD43337F99}"/>
              </a:ext>
            </a:extLst>
          </p:cNvPr>
          <p:cNvSpPr txBox="1">
            <a:spLocks/>
          </p:cNvSpPr>
          <p:nvPr userDrawn="1"/>
        </p:nvSpPr>
        <p:spPr>
          <a:xfrm>
            <a:off x="2214400" y="3905056"/>
            <a:ext cx="6263014" cy="928572"/>
          </a:xfrm>
          <a:prstGeom prst="rect">
            <a:avLst/>
          </a:prstGeom>
        </p:spPr>
        <p:txBody>
          <a:bodyPr vert="horz" lIns="80189" tIns="40095" rIns="80189" bIns="40095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07943">
              <a:lnSpc>
                <a:spcPct val="100000"/>
              </a:lnSpc>
              <a:spcBef>
                <a:spcPct val="0"/>
              </a:spcBef>
            </a:pPr>
            <a:r>
              <a:rPr lang="en-IN" dirty="0">
                <a:latin typeface="EYInterstate Light" panose="02000506000000020004" pitchFamily="2" charset="0"/>
                <a:ea typeface="+mj-ea"/>
                <a:cs typeface="+mj-cs"/>
              </a:rPr>
              <a:t>successfully completed the 2023 Better Working World Data Challenge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.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5307B001-A857-4A97-B110-28C358E21379}"/>
              </a:ext>
            </a:extLst>
          </p:cNvPr>
          <p:cNvSpPr txBox="1">
            <a:spLocks/>
          </p:cNvSpPr>
          <p:nvPr userDrawn="1"/>
        </p:nvSpPr>
        <p:spPr>
          <a:xfrm>
            <a:off x="569746" y="6165616"/>
            <a:ext cx="330778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Beatriz Sanz Saiz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EY Global Data &amp; Analytics Leader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E28881B7-9B56-45C9-8F51-5B4E7B548053}"/>
              </a:ext>
            </a:extLst>
          </p:cNvPr>
          <p:cNvSpPr txBox="1">
            <a:spLocks/>
          </p:cNvSpPr>
          <p:nvPr userDrawn="1"/>
        </p:nvSpPr>
        <p:spPr>
          <a:xfrm>
            <a:off x="7081583" y="6165617"/>
            <a:ext cx="3040484" cy="461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Alexandros Papaspyridis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Director, Higher Education, Microsoft</a:t>
            </a:r>
          </a:p>
        </p:txBody>
      </p:sp>
      <p:sp>
        <p:nvSpPr>
          <p:cNvPr id="23" name="Rectangle 8">
            <a:extLst>
              <a:ext uri="{FF2B5EF4-FFF2-40B4-BE49-F238E27FC236}">
                <a16:creationId xmlns:a16="http://schemas.microsoft.com/office/drawing/2014/main" id="{B27D91F6-FDE6-438D-B76B-5878BECBE70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57270" y="269875"/>
            <a:ext cx="10177272" cy="7019925"/>
          </a:xfrm>
          <a:prstGeom prst="rect">
            <a:avLst/>
          </a:prstGeom>
          <a:noFill/>
          <a:ln w="23813" cap="flat" cmpd="dbl">
            <a:solidFill>
              <a:srgbClr val="747480"/>
            </a:solidFill>
            <a:prstDash val="dash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Rectangle 8">
            <a:extLst>
              <a:ext uri="{FF2B5EF4-FFF2-40B4-BE49-F238E27FC236}">
                <a16:creationId xmlns:a16="http://schemas.microsoft.com/office/drawing/2014/main" id="{277377EB-28DB-47B4-B9AF-499570F4399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66687" y="152400"/>
            <a:ext cx="10358438" cy="7199881"/>
          </a:xfrm>
          <a:prstGeom prst="rect">
            <a:avLst/>
          </a:prstGeom>
          <a:noFill/>
          <a:ln w="23813" cap="flat" cmpd="dbl">
            <a:solidFill>
              <a:srgbClr val="74748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8B1DE5B3-FC16-47CF-9F30-1BC68AC580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674762" y="7314931"/>
            <a:ext cx="3854125" cy="402483"/>
          </a:xfrm>
        </p:spPr>
        <p:txBody>
          <a:bodyPr/>
          <a:lstStyle>
            <a:lvl1pPr>
              <a:defRPr sz="900"/>
            </a:lvl1pPr>
          </a:lstStyle>
          <a:p>
            <a:r>
              <a:rPr lang="en-US" dirty="0">
                <a:solidFill>
                  <a:srgbClr val="444444"/>
                </a:solidFill>
                <a:latin typeface="Segoe UI" panose="020B0502040204020203" pitchFamily="34" charset="0"/>
              </a:rPr>
              <a:t>© 2023 EYGM Limited. All Rights Reserved.</a:t>
            </a:r>
            <a:endParaRPr lang="en-GB" dirty="0"/>
          </a:p>
          <a:p>
            <a:endParaRPr lang="en-GB" dirty="0"/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12B493B2-599A-4B17-80A7-BBD29BB1835A}"/>
              </a:ext>
            </a:extLst>
          </p:cNvPr>
          <p:cNvSpPr txBox="1">
            <a:spLocks/>
          </p:cNvSpPr>
          <p:nvPr userDrawn="1"/>
        </p:nvSpPr>
        <p:spPr>
          <a:xfrm>
            <a:off x="257270" y="6920468"/>
            <a:ext cx="10177272" cy="369332"/>
          </a:xfrm>
          <a:prstGeom prst="rect">
            <a:avLst/>
          </a:prstGeom>
          <a:solidFill>
            <a:srgbClr val="2E2E38"/>
          </a:solidFill>
        </p:spPr>
        <p:txBody>
          <a:bodyPr wrap="square">
            <a:spAutoFit/>
          </a:bodyPr>
          <a:lstStyle/>
          <a:p>
            <a:pPr algn="ctr"/>
            <a:r>
              <a:rPr lang="en-GB" sz="1800" b="0" dirty="0">
                <a:solidFill>
                  <a:srgbClr val="FFE600"/>
                </a:solidFill>
                <a:latin typeface="EYInterstate" panose="02000503020000020004" pitchFamily="2" charset="0"/>
              </a:rPr>
              <a:t>Don’t just predict the future. Build a better one.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0055C33-19A3-4284-9469-1C43A404CD13}"/>
              </a:ext>
            </a:extLst>
          </p:cNvPr>
          <p:cNvSpPr>
            <a:spLocks/>
          </p:cNvSpPr>
          <p:nvPr userDrawn="1"/>
        </p:nvSpPr>
        <p:spPr>
          <a:xfrm>
            <a:off x="257270" y="2544457"/>
            <a:ext cx="10177272" cy="2484743"/>
          </a:xfrm>
          <a:prstGeom prst="rect">
            <a:avLst/>
          </a:prstGeom>
          <a:solidFill>
            <a:srgbClr val="74748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3" name="Freeform 17">
            <a:extLst>
              <a:ext uri="{FF2B5EF4-FFF2-40B4-BE49-F238E27FC236}">
                <a16:creationId xmlns:a16="http://schemas.microsoft.com/office/drawing/2014/main" id="{26EB76D5-7537-4808-BE7E-0FC9CCE11925}"/>
              </a:ext>
            </a:extLst>
          </p:cNvPr>
          <p:cNvSpPr>
            <a:spLocks/>
          </p:cNvSpPr>
          <p:nvPr userDrawn="1"/>
        </p:nvSpPr>
        <p:spPr bwMode="auto">
          <a:xfrm>
            <a:off x="3338514" y="2239657"/>
            <a:ext cx="4014786" cy="574227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s is to certify that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sp>
        <p:nvSpPr>
          <p:cNvPr id="167" name="Title 35">
            <a:extLst>
              <a:ext uri="{FF2B5EF4-FFF2-40B4-BE49-F238E27FC236}">
                <a16:creationId xmlns:a16="http://schemas.microsoft.com/office/drawing/2014/main" id="{E99C4E33-460E-455E-BE5F-18795CB92B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4400" y="3201833"/>
            <a:ext cx="6263014" cy="574258"/>
          </a:xfrm>
        </p:spPr>
        <p:txBody>
          <a:bodyPr>
            <a:normAutofit/>
          </a:bodyPr>
          <a:lstStyle>
            <a:lvl1pPr algn="ctr">
              <a:defRPr sz="3500" b="1">
                <a:latin typeface="EYInterstate" panose="02000503020000020004" pitchFamily="2" charset="0"/>
              </a:defRPr>
            </a:lvl1pPr>
          </a:lstStyle>
          <a:p>
            <a:r>
              <a:rPr lang="en-US" dirty="0"/>
              <a:t>[Insert Name Here]</a:t>
            </a:r>
          </a:p>
        </p:txBody>
      </p:sp>
      <p:grpSp>
        <p:nvGrpSpPr>
          <p:cNvPr id="170" name="Group 4">
            <a:extLst>
              <a:ext uri="{FF2B5EF4-FFF2-40B4-BE49-F238E27FC236}">
                <a16:creationId xmlns:a16="http://schemas.microsoft.com/office/drawing/2014/main" id="{5044809D-1320-4B48-BEF6-F0C62017E5D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22844" y="561618"/>
            <a:ext cx="1080000" cy="1282704"/>
            <a:chOff x="4857" y="3364"/>
            <a:chExt cx="622" cy="729"/>
          </a:xfrm>
        </p:grpSpPr>
        <p:sp>
          <p:nvSpPr>
            <p:cNvPr id="171" name="AutoShape 3">
              <a:extLst>
                <a:ext uri="{FF2B5EF4-FFF2-40B4-BE49-F238E27FC236}">
                  <a16:creationId xmlns:a16="http://schemas.microsoft.com/office/drawing/2014/main" id="{5E7BEA53-1940-4BF4-8134-CD6ACFEA8F54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2" name="Freeform 5">
              <a:extLst>
                <a:ext uri="{FF2B5EF4-FFF2-40B4-BE49-F238E27FC236}">
                  <a16:creationId xmlns:a16="http://schemas.microsoft.com/office/drawing/2014/main" id="{6C5F8E9B-E8EE-4952-B94D-B8424625C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3" name="Freeform 6">
              <a:extLst>
                <a:ext uri="{FF2B5EF4-FFF2-40B4-BE49-F238E27FC236}">
                  <a16:creationId xmlns:a16="http://schemas.microsoft.com/office/drawing/2014/main" id="{9D49455B-7C03-472F-8E9A-1ED96B78BC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moveTo>
                    <a:pt x="152" y="1823"/>
                  </a:moveTo>
                  <a:moveTo>
                    <a:pt x="151" y="1685"/>
                  </a:moveTo>
                  <a:moveTo>
                    <a:pt x="298" y="1778"/>
                  </a:moveTo>
                  <a:moveTo>
                    <a:pt x="1143" y="1874"/>
                  </a:moveTo>
                  <a:moveTo>
                    <a:pt x="597" y="1755"/>
                  </a:moveTo>
                  <a:moveTo>
                    <a:pt x="646" y="1585"/>
                  </a:moveTo>
                  <a:moveTo>
                    <a:pt x="877" y="1666"/>
                  </a:moveTo>
                  <a:moveTo>
                    <a:pt x="838" y="1829"/>
                  </a:moveTo>
                  <a:moveTo>
                    <a:pt x="2084" y="1645"/>
                  </a:moveTo>
                  <a:moveTo>
                    <a:pt x="2074" y="1696"/>
                  </a:moveTo>
                  <a:moveTo>
                    <a:pt x="1455" y="1666"/>
                  </a:moveTo>
                  <a:moveTo>
                    <a:pt x="1455" y="1719"/>
                  </a:moveTo>
                  <a:moveTo>
                    <a:pt x="1683" y="1705"/>
                  </a:moveTo>
                  <a:moveTo>
                    <a:pt x="1698" y="1800"/>
                  </a:moveTo>
                  <a:moveTo>
                    <a:pt x="2350" y="1810"/>
                  </a:moveTo>
                  <a:moveTo>
                    <a:pt x="2257" y="1739"/>
                  </a:moveTo>
                  <a:moveTo>
                    <a:pt x="2884" y="1810"/>
                  </a:moveTo>
                  <a:moveTo>
                    <a:pt x="2791" y="1739"/>
                  </a:moveTo>
                  <a:moveTo>
                    <a:pt x="2658" y="1797"/>
                  </a:moveTo>
                  <a:moveTo>
                    <a:pt x="2550" y="1869"/>
                  </a:moveTo>
                  <a:moveTo>
                    <a:pt x="3096" y="1713"/>
                  </a:moveTo>
                  <a:moveTo>
                    <a:pt x="597" y="1591"/>
                  </a:moveTo>
                  <a:moveTo>
                    <a:pt x="981" y="1651"/>
                  </a:moveTo>
                  <a:moveTo>
                    <a:pt x="1037" y="1591"/>
                  </a:moveTo>
                  <a:moveTo>
                    <a:pt x="2558" y="2058"/>
                  </a:moveTo>
                  <a:moveTo>
                    <a:pt x="2519" y="2220"/>
                  </a:moveTo>
                  <a:moveTo>
                    <a:pt x="677" y="2105"/>
                  </a:moveTo>
                  <a:moveTo>
                    <a:pt x="242" y="2042"/>
                  </a:moveTo>
                  <a:moveTo>
                    <a:pt x="409" y="2037"/>
                  </a:moveTo>
                  <a:moveTo>
                    <a:pt x="409" y="2219"/>
                  </a:moveTo>
                  <a:moveTo>
                    <a:pt x="2285" y="2105"/>
                  </a:moveTo>
                  <a:moveTo>
                    <a:pt x="1850" y="2042"/>
                  </a:moveTo>
                  <a:moveTo>
                    <a:pt x="2016" y="2037"/>
                  </a:moveTo>
                  <a:moveTo>
                    <a:pt x="2016" y="2219"/>
                  </a:moveTo>
                  <a:moveTo>
                    <a:pt x="843" y="2116"/>
                  </a:moveTo>
                  <a:moveTo>
                    <a:pt x="1105" y="2266"/>
                  </a:moveTo>
                  <a:moveTo>
                    <a:pt x="1418" y="2058"/>
                  </a:moveTo>
                  <a:moveTo>
                    <a:pt x="1418" y="2110"/>
                  </a:moveTo>
                  <a:moveTo>
                    <a:pt x="945" y="2042"/>
                  </a:moveTo>
                  <a:moveTo>
                    <a:pt x="1000" y="1982"/>
                  </a:moveTo>
                  <a:moveTo>
                    <a:pt x="2325" y="1977"/>
                  </a:moveTo>
                  <a:moveTo>
                    <a:pt x="400" y="762"/>
                  </a:moveTo>
                  <a:moveTo>
                    <a:pt x="1702" y="0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</p:grpSp>
      <p:pic>
        <p:nvPicPr>
          <p:cNvPr id="174" name="Graphic 173">
            <a:extLst>
              <a:ext uri="{FF2B5EF4-FFF2-40B4-BE49-F238E27FC236}">
                <a16:creationId xmlns:a16="http://schemas.microsoft.com/office/drawing/2014/main" id="{16EC7F8A-510D-47E1-8C81-E7D29DC71A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07157" y="606500"/>
            <a:ext cx="2367926" cy="505789"/>
          </a:xfrm>
          <a:prstGeom prst="rect">
            <a:avLst/>
          </a:prstGeom>
        </p:spPr>
      </p:pic>
      <p:pic>
        <p:nvPicPr>
          <p:cNvPr id="22" name="Graphic 20">
            <a:extLst>
              <a:ext uri="{FF2B5EF4-FFF2-40B4-BE49-F238E27FC236}">
                <a16:creationId xmlns:a16="http://schemas.microsoft.com/office/drawing/2014/main" id="{2B2F2FDE-E459-4A2A-8BA3-B5A5C8D78AE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08589" y="1429950"/>
            <a:ext cx="2364691" cy="601960"/>
          </a:xfrm>
          <a:prstGeom prst="rect">
            <a:avLst/>
          </a:prstGeom>
        </p:spPr>
      </p:pic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03382338-D59F-43D1-BDD6-CEB9B868029F}"/>
              </a:ext>
            </a:extLst>
          </p:cNvPr>
          <p:cNvCxnSpPr>
            <a:cxnSpLocks/>
          </p:cNvCxnSpPr>
          <p:nvPr userDrawn="1"/>
        </p:nvCxnSpPr>
        <p:spPr>
          <a:xfrm>
            <a:off x="569746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32A08271-3DEB-49A4-B899-7C61600D1DC4}"/>
              </a:ext>
            </a:extLst>
          </p:cNvPr>
          <p:cNvCxnSpPr>
            <a:cxnSpLocks/>
          </p:cNvCxnSpPr>
          <p:nvPr userDrawn="1"/>
        </p:nvCxnSpPr>
        <p:spPr>
          <a:xfrm>
            <a:off x="7081582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EE756391-C984-4279-B19F-5D6A5E90CB8D}"/>
              </a:ext>
            </a:extLst>
          </p:cNvPr>
          <p:cNvCxnSpPr>
            <a:cxnSpLocks/>
          </p:cNvCxnSpPr>
          <p:nvPr userDrawn="1"/>
        </p:nvCxnSpPr>
        <p:spPr>
          <a:xfrm>
            <a:off x="2214400" y="3795622"/>
            <a:ext cx="6263014" cy="0"/>
          </a:xfrm>
          <a:prstGeom prst="line">
            <a:avLst/>
          </a:prstGeom>
          <a:ln w="28575">
            <a:solidFill>
              <a:srgbClr val="FFE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3062648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277C381A-4832-44EF-BC1F-D344FAAAD711}"/>
              </a:ext>
            </a:extLst>
          </p:cNvPr>
          <p:cNvSpPr>
            <a:spLocks/>
          </p:cNvSpPr>
          <p:nvPr userDrawn="1"/>
        </p:nvSpPr>
        <p:spPr>
          <a:xfrm>
            <a:off x="334018" y="2544457"/>
            <a:ext cx="10035533" cy="2484743"/>
          </a:xfrm>
          <a:prstGeom prst="rect">
            <a:avLst/>
          </a:prstGeom>
          <a:solidFill>
            <a:srgbClr val="74748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8">
            <a:extLst>
              <a:ext uri="{FF2B5EF4-FFF2-40B4-BE49-F238E27FC236}">
                <a16:creationId xmlns:a16="http://schemas.microsoft.com/office/drawing/2014/main" id="{3F42BA56-CAE3-41F7-9275-0DB1B2158BD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19088" y="322263"/>
            <a:ext cx="10050463" cy="7019925"/>
          </a:xfrm>
          <a:prstGeom prst="rect">
            <a:avLst/>
          </a:prstGeom>
          <a:noFill/>
          <a:ln w="23813" cap="flat">
            <a:solidFill>
              <a:srgbClr val="2E2E38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3" name="Freeform 17">
            <a:extLst>
              <a:ext uri="{FF2B5EF4-FFF2-40B4-BE49-F238E27FC236}">
                <a16:creationId xmlns:a16="http://schemas.microsoft.com/office/drawing/2014/main" id="{26EB76D5-7537-4808-BE7E-0FC9CCE11925}"/>
              </a:ext>
            </a:extLst>
          </p:cNvPr>
          <p:cNvSpPr>
            <a:spLocks/>
          </p:cNvSpPr>
          <p:nvPr userDrawn="1"/>
        </p:nvSpPr>
        <p:spPr bwMode="auto">
          <a:xfrm>
            <a:off x="3338514" y="2239657"/>
            <a:ext cx="4014786" cy="574227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R="0" lvl="0" indent="0" algn="ctr" defTabSz="100794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2800" b="1" i="0" u="none" strike="noStrike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</a:rPr>
              <a:t>This is to certify that</a:t>
            </a:r>
            <a:endParaRPr kumimoji="0" lang="en-GB" sz="2800" b="1" i="0" u="none" strike="noStrike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</a:endParaRPr>
          </a:p>
        </p:txBody>
      </p:sp>
      <p:sp>
        <p:nvSpPr>
          <p:cNvPr id="166" name="Subtitle 2">
            <a:extLst>
              <a:ext uri="{FF2B5EF4-FFF2-40B4-BE49-F238E27FC236}">
                <a16:creationId xmlns:a16="http://schemas.microsoft.com/office/drawing/2014/main" id="{0008E2B0-8C2A-41AF-96F4-19FD43337F99}"/>
              </a:ext>
            </a:extLst>
          </p:cNvPr>
          <p:cNvSpPr txBox="1">
            <a:spLocks/>
          </p:cNvSpPr>
          <p:nvPr userDrawn="1"/>
        </p:nvSpPr>
        <p:spPr>
          <a:xfrm>
            <a:off x="2214400" y="3905056"/>
            <a:ext cx="6263014" cy="928572"/>
          </a:xfrm>
          <a:prstGeom prst="rect">
            <a:avLst/>
          </a:prstGeom>
        </p:spPr>
        <p:txBody>
          <a:bodyPr vert="horz" lIns="80189" tIns="40095" rIns="80189" bIns="40095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07943">
              <a:lnSpc>
                <a:spcPct val="100000"/>
              </a:lnSpc>
              <a:spcBef>
                <a:spcPct val="0"/>
              </a:spcBef>
            </a:pP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is a global </a:t>
            </a:r>
            <a:r>
              <a:rPr lang="en-GB" sz="2800" b="1" dirty="0">
                <a:latin typeface="EYInterstate" panose="02000503020000020004" pitchFamily="2" charset="0"/>
                <a:ea typeface="+mj-ea"/>
                <a:cs typeface="+mj-cs"/>
              </a:rPr>
              <a:t>finalist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 in the 2022 Better Working World Data Challenge.</a:t>
            </a:r>
            <a:b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</a:br>
            <a:endParaRPr lang="en-GB" dirty="0">
              <a:latin typeface="EYInterstate Light" panose="02000506000000020004" pitchFamily="2" charset="0"/>
              <a:ea typeface="+mj-ea"/>
              <a:cs typeface="+mj-cs"/>
            </a:endParaRPr>
          </a:p>
        </p:txBody>
      </p:sp>
      <p:sp>
        <p:nvSpPr>
          <p:cNvPr id="167" name="Title 35">
            <a:extLst>
              <a:ext uri="{FF2B5EF4-FFF2-40B4-BE49-F238E27FC236}">
                <a16:creationId xmlns:a16="http://schemas.microsoft.com/office/drawing/2014/main" id="{E99C4E33-460E-455E-BE5F-18795CB92B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4400" y="3201833"/>
            <a:ext cx="6263014" cy="574258"/>
          </a:xfrm>
        </p:spPr>
        <p:txBody>
          <a:bodyPr>
            <a:normAutofit/>
          </a:bodyPr>
          <a:lstStyle>
            <a:lvl1pPr algn="ctr">
              <a:defRPr sz="3500" b="1">
                <a:latin typeface="EYInterstate" panose="02000503020000020004" pitchFamily="2" charset="0"/>
              </a:defRPr>
            </a:lvl1pPr>
          </a:lstStyle>
          <a:p>
            <a:r>
              <a:rPr lang="en-US" dirty="0"/>
              <a:t>[Insert Name Here]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5307B001-A857-4A97-B110-28C358E21379}"/>
              </a:ext>
            </a:extLst>
          </p:cNvPr>
          <p:cNvSpPr txBox="1">
            <a:spLocks/>
          </p:cNvSpPr>
          <p:nvPr userDrawn="1"/>
        </p:nvSpPr>
        <p:spPr>
          <a:xfrm>
            <a:off x="569746" y="6165616"/>
            <a:ext cx="330778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Beatriz Sanz Saiz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EY Global Data &amp; Analytics Leader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E28881B7-9B56-45C9-8F51-5B4E7B548053}"/>
              </a:ext>
            </a:extLst>
          </p:cNvPr>
          <p:cNvSpPr txBox="1">
            <a:spLocks/>
          </p:cNvSpPr>
          <p:nvPr userDrawn="1"/>
        </p:nvSpPr>
        <p:spPr>
          <a:xfrm>
            <a:off x="7081583" y="6165617"/>
            <a:ext cx="3040484" cy="461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Alexandros Papaspyridis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Director, Higher Education, Microsof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134A261-A167-4F58-87E0-F338841AE911}"/>
              </a:ext>
            </a:extLst>
          </p:cNvPr>
          <p:cNvSpPr txBox="1">
            <a:spLocks/>
          </p:cNvSpPr>
          <p:nvPr userDrawn="1"/>
        </p:nvSpPr>
        <p:spPr>
          <a:xfrm>
            <a:off x="334018" y="6972856"/>
            <a:ext cx="10050463" cy="369332"/>
          </a:xfrm>
          <a:prstGeom prst="rect">
            <a:avLst/>
          </a:prstGeom>
          <a:solidFill>
            <a:srgbClr val="2E2E38"/>
          </a:solidFill>
        </p:spPr>
        <p:txBody>
          <a:bodyPr wrap="square">
            <a:spAutoFit/>
          </a:bodyPr>
          <a:lstStyle/>
          <a:p>
            <a:pPr algn="ctr"/>
            <a:r>
              <a:rPr lang="en-GB" sz="1800" b="0" dirty="0">
                <a:solidFill>
                  <a:srgbClr val="FFE600"/>
                </a:solidFill>
                <a:latin typeface="EYInterstate" panose="02000503020000020004" pitchFamily="2" charset="0"/>
              </a:rPr>
              <a:t>Don’t just predict the future. Build a better one. </a:t>
            </a:r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EE756391-C984-4279-B19F-5D6A5E90CB8D}"/>
              </a:ext>
            </a:extLst>
          </p:cNvPr>
          <p:cNvCxnSpPr>
            <a:cxnSpLocks/>
          </p:cNvCxnSpPr>
          <p:nvPr userDrawn="1"/>
        </p:nvCxnSpPr>
        <p:spPr>
          <a:xfrm>
            <a:off x="2214400" y="3795622"/>
            <a:ext cx="6263014" cy="0"/>
          </a:xfrm>
          <a:prstGeom prst="line">
            <a:avLst/>
          </a:prstGeom>
          <a:ln w="28575">
            <a:solidFill>
              <a:srgbClr val="FFE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03382338-D59F-43D1-BDD6-CEB9B868029F}"/>
              </a:ext>
            </a:extLst>
          </p:cNvPr>
          <p:cNvCxnSpPr>
            <a:cxnSpLocks/>
          </p:cNvCxnSpPr>
          <p:nvPr userDrawn="1"/>
        </p:nvCxnSpPr>
        <p:spPr>
          <a:xfrm>
            <a:off x="569746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32A08271-3DEB-49A4-B899-7C61600D1DC4}"/>
              </a:ext>
            </a:extLst>
          </p:cNvPr>
          <p:cNvCxnSpPr>
            <a:cxnSpLocks/>
          </p:cNvCxnSpPr>
          <p:nvPr userDrawn="1"/>
        </p:nvCxnSpPr>
        <p:spPr>
          <a:xfrm>
            <a:off x="7081582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0" name="Group 4">
            <a:extLst>
              <a:ext uri="{FF2B5EF4-FFF2-40B4-BE49-F238E27FC236}">
                <a16:creationId xmlns:a16="http://schemas.microsoft.com/office/drawing/2014/main" id="{5044809D-1320-4B48-BEF6-F0C62017E5D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22844" y="561618"/>
            <a:ext cx="1080000" cy="1282704"/>
            <a:chOff x="4857" y="3364"/>
            <a:chExt cx="622" cy="729"/>
          </a:xfrm>
        </p:grpSpPr>
        <p:sp>
          <p:nvSpPr>
            <p:cNvPr id="171" name="AutoShape 3">
              <a:extLst>
                <a:ext uri="{FF2B5EF4-FFF2-40B4-BE49-F238E27FC236}">
                  <a16:creationId xmlns:a16="http://schemas.microsoft.com/office/drawing/2014/main" id="{5E7BEA53-1940-4BF4-8134-CD6ACFEA8F54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2" name="Freeform 5">
              <a:extLst>
                <a:ext uri="{FF2B5EF4-FFF2-40B4-BE49-F238E27FC236}">
                  <a16:creationId xmlns:a16="http://schemas.microsoft.com/office/drawing/2014/main" id="{6C5F8E9B-E8EE-4952-B94D-B8424625C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3" name="Freeform 6">
              <a:extLst>
                <a:ext uri="{FF2B5EF4-FFF2-40B4-BE49-F238E27FC236}">
                  <a16:creationId xmlns:a16="http://schemas.microsoft.com/office/drawing/2014/main" id="{9D49455B-7C03-472F-8E9A-1ED96B78BC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moveTo>
                    <a:pt x="152" y="1823"/>
                  </a:moveTo>
                  <a:moveTo>
                    <a:pt x="151" y="1685"/>
                  </a:moveTo>
                  <a:moveTo>
                    <a:pt x="298" y="1778"/>
                  </a:moveTo>
                  <a:moveTo>
                    <a:pt x="1143" y="1874"/>
                  </a:moveTo>
                  <a:moveTo>
                    <a:pt x="597" y="1755"/>
                  </a:moveTo>
                  <a:moveTo>
                    <a:pt x="646" y="1585"/>
                  </a:moveTo>
                  <a:moveTo>
                    <a:pt x="877" y="1666"/>
                  </a:moveTo>
                  <a:moveTo>
                    <a:pt x="838" y="1829"/>
                  </a:moveTo>
                  <a:moveTo>
                    <a:pt x="2084" y="1645"/>
                  </a:moveTo>
                  <a:moveTo>
                    <a:pt x="2074" y="1696"/>
                  </a:moveTo>
                  <a:moveTo>
                    <a:pt x="1455" y="1666"/>
                  </a:moveTo>
                  <a:moveTo>
                    <a:pt x="1455" y="1719"/>
                  </a:moveTo>
                  <a:moveTo>
                    <a:pt x="1683" y="1705"/>
                  </a:moveTo>
                  <a:moveTo>
                    <a:pt x="1698" y="1800"/>
                  </a:moveTo>
                  <a:moveTo>
                    <a:pt x="2350" y="1810"/>
                  </a:moveTo>
                  <a:moveTo>
                    <a:pt x="2257" y="1739"/>
                  </a:moveTo>
                  <a:moveTo>
                    <a:pt x="2884" y="1810"/>
                  </a:moveTo>
                  <a:moveTo>
                    <a:pt x="2791" y="1739"/>
                  </a:moveTo>
                  <a:moveTo>
                    <a:pt x="2658" y="1797"/>
                  </a:moveTo>
                  <a:moveTo>
                    <a:pt x="2550" y="1869"/>
                  </a:moveTo>
                  <a:moveTo>
                    <a:pt x="3096" y="1713"/>
                  </a:moveTo>
                  <a:moveTo>
                    <a:pt x="597" y="1591"/>
                  </a:moveTo>
                  <a:moveTo>
                    <a:pt x="981" y="1651"/>
                  </a:moveTo>
                  <a:moveTo>
                    <a:pt x="1037" y="1591"/>
                  </a:moveTo>
                  <a:moveTo>
                    <a:pt x="2558" y="2058"/>
                  </a:moveTo>
                  <a:moveTo>
                    <a:pt x="2519" y="2220"/>
                  </a:moveTo>
                  <a:moveTo>
                    <a:pt x="677" y="2105"/>
                  </a:moveTo>
                  <a:moveTo>
                    <a:pt x="242" y="2042"/>
                  </a:moveTo>
                  <a:moveTo>
                    <a:pt x="409" y="2037"/>
                  </a:moveTo>
                  <a:moveTo>
                    <a:pt x="409" y="2219"/>
                  </a:moveTo>
                  <a:moveTo>
                    <a:pt x="2285" y="2105"/>
                  </a:moveTo>
                  <a:moveTo>
                    <a:pt x="1850" y="2042"/>
                  </a:moveTo>
                  <a:moveTo>
                    <a:pt x="2016" y="2037"/>
                  </a:moveTo>
                  <a:moveTo>
                    <a:pt x="2016" y="2219"/>
                  </a:moveTo>
                  <a:moveTo>
                    <a:pt x="843" y="2116"/>
                  </a:moveTo>
                  <a:moveTo>
                    <a:pt x="1105" y="2266"/>
                  </a:moveTo>
                  <a:moveTo>
                    <a:pt x="1418" y="2058"/>
                  </a:moveTo>
                  <a:moveTo>
                    <a:pt x="1418" y="2110"/>
                  </a:moveTo>
                  <a:moveTo>
                    <a:pt x="945" y="2042"/>
                  </a:moveTo>
                  <a:moveTo>
                    <a:pt x="1000" y="1982"/>
                  </a:moveTo>
                  <a:moveTo>
                    <a:pt x="2325" y="1977"/>
                  </a:moveTo>
                  <a:moveTo>
                    <a:pt x="400" y="762"/>
                  </a:moveTo>
                  <a:moveTo>
                    <a:pt x="1702" y="0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</p:grpSp>
      <p:pic>
        <p:nvPicPr>
          <p:cNvPr id="174" name="Graphic 173">
            <a:extLst>
              <a:ext uri="{FF2B5EF4-FFF2-40B4-BE49-F238E27FC236}">
                <a16:creationId xmlns:a16="http://schemas.microsoft.com/office/drawing/2014/main" id="{16EC7F8A-510D-47E1-8C81-E7D29DC71A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07157" y="808302"/>
            <a:ext cx="2367926" cy="505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66963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 sz="2104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0F0AABF-D862-4E52-856A-98A908BD81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24/03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F5FDC76-F946-4827-A773-FCD68068B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BF873B-E40B-4AF7-8D2F-967775EB8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961025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277C381A-4832-44EF-BC1F-D344FAAAD711}"/>
              </a:ext>
            </a:extLst>
          </p:cNvPr>
          <p:cNvSpPr>
            <a:spLocks/>
          </p:cNvSpPr>
          <p:nvPr userDrawn="1"/>
        </p:nvSpPr>
        <p:spPr>
          <a:xfrm>
            <a:off x="334018" y="2544457"/>
            <a:ext cx="10035533" cy="2484743"/>
          </a:xfrm>
          <a:prstGeom prst="rect">
            <a:avLst/>
          </a:prstGeom>
          <a:solidFill>
            <a:srgbClr val="74748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8">
            <a:extLst>
              <a:ext uri="{FF2B5EF4-FFF2-40B4-BE49-F238E27FC236}">
                <a16:creationId xmlns:a16="http://schemas.microsoft.com/office/drawing/2014/main" id="{3F42BA56-CAE3-41F7-9275-0DB1B2158BD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19088" y="322263"/>
            <a:ext cx="10050463" cy="7019925"/>
          </a:xfrm>
          <a:prstGeom prst="rect">
            <a:avLst/>
          </a:prstGeom>
          <a:noFill/>
          <a:ln w="23813" cap="flat">
            <a:solidFill>
              <a:srgbClr val="2E2E38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3" name="Freeform 17">
            <a:extLst>
              <a:ext uri="{FF2B5EF4-FFF2-40B4-BE49-F238E27FC236}">
                <a16:creationId xmlns:a16="http://schemas.microsoft.com/office/drawing/2014/main" id="{26EB76D5-7537-4808-BE7E-0FC9CCE11925}"/>
              </a:ext>
            </a:extLst>
          </p:cNvPr>
          <p:cNvSpPr>
            <a:spLocks/>
          </p:cNvSpPr>
          <p:nvPr userDrawn="1"/>
        </p:nvSpPr>
        <p:spPr bwMode="auto">
          <a:xfrm>
            <a:off x="3338514" y="2239657"/>
            <a:ext cx="4014786" cy="574227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R="0" lvl="0" indent="0" algn="ctr" defTabSz="100794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2800" b="1" i="0" u="none" strike="noStrike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</a:rPr>
              <a:t>This is to certify that</a:t>
            </a:r>
            <a:endParaRPr kumimoji="0" lang="en-GB" sz="2800" b="1" i="0" u="none" strike="noStrike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</a:endParaRPr>
          </a:p>
        </p:txBody>
      </p:sp>
      <p:sp>
        <p:nvSpPr>
          <p:cNvPr id="166" name="Subtitle 2">
            <a:extLst>
              <a:ext uri="{FF2B5EF4-FFF2-40B4-BE49-F238E27FC236}">
                <a16:creationId xmlns:a16="http://schemas.microsoft.com/office/drawing/2014/main" id="{0008E2B0-8C2A-41AF-96F4-19FD43337F99}"/>
              </a:ext>
            </a:extLst>
          </p:cNvPr>
          <p:cNvSpPr txBox="1">
            <a:spLocks/>
          </p:cNvSpPr>
          <p:nvPr userDrawn="1"/>
        </p:nvSpPr>
        <p:spPr>
          <a:xfrm>
            <a:off x="2214400" y="3905056"/>
            <a:ext cx="6263014" cy="928572"/>
          </a:xfrm>
          <a:prstGeom prst="rect">
            <a:avLst/>
          </a:prstGeom>
        </p:spPr>
        <p:txBody>
          <a:bodyPr vert="horz" lIns="80189" tIns="40095" rIns="80189" bIns="40095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07943">
              <a:lnSpc>
                <a:spcPct val="100000"/>
              </a:lnSpc>
              <a:spcBef>
                <a:spcPct val="0"/>
              </a:spcBef>
            </a:pP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is a global </a:t>
            </a:r>
            <a:r>
              <a:rPr lang="en-GB" sz="2800" b="1" dirty="0">
                <a:latin typeface="EYInterstate" panose="02000503020000020004" pitchFamily="2" charset="0"/>
                <a:ea typeface="+mj-ea"/>
                <a:cs typeface="+mj-cs"/>
              </a:rPr>
              <a:t>runner-up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 in the 2022 Better Working World Data Challenge.</a:t>
            </a:r>
            <a:b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</a:br>
            <a:endParaRPr lang="en-GB" dirty="0">
              <a:latin typeface="EYInterstate Light" panose="02000506000000020004" pitchFamily="2" charset="0"/>
              <a:ea typeface="+mj-ea"/>
              <a:cs typeface="+mj-cs"/>
            </a:endParaRPr>
          </a:p>
        </p:txBody>
      </p:sp>
      <p:sp>
        <p:nvSpPr>
          <p:cNvPr id="167" name="Title 35">
            <a:extLst>
              <a:ext uri="{FF2B5EF4-FFF2-40B4-BE49-F238E27FC236}">
                <a16:creationId xmlns:a16="http://schemas.microsoft.com/office/drawing/2014/main" id="{E99C4E33-460E-455E-BE5F-18795CB92B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4400" y="3201833"/>
            <a:ext cx="6263014" cy="574258"/>
          </a:xfrm>
        </p:spPr>
        <p:txBody>
          <a:bodyPr>
            <a:normAutofit/>
          </a:bodyPr>
          <a:lstStyle>
            <a:lvl1pPr algn="ctr">
              <a:defRPr sz="3500" b="1">
                <a:latin typeface="EYInterstate" panose="02000503020000020004" pitchFamily="2" charset="0"/>
              </a:defRPr>
            </a:lvl1pPr>
          </a:lstStyle>
          <a:p>
            <a:r>
              <a:rPr lang="en-US" dirty="0"/>
              <a:t>[Insert Name Here]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5307B001-A857-4A97-B110-28C358E21379}"/>
              </a:ext>
            </a:extLst>
          </p:cNvPr>
          <p:cNvSpPr txBox="1">
            <a:spLocks/>
          </p:cNvSpPr>
          <p:nvPr userDrawn="1"/>
        </p:nvSpPr>
        <p:spPr>
          <a:xfrm>
            <a:off x="569746" y="6165616"/>
            <a:ext cx="330778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Beatriz Sanz Saiz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EY Global Data &amp; Analytics Leader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E28881B7-9B56-45C9-8F51-5B4E7B548053}"/>
              </a:ext>
            </a:extLst>
          </p:cNvPr>
          <p:cNvSpPr txBox="1">
            <a:spLocks/>
          </p:cNvSpPr>
          <p:nvPr userDrawn="1"/>
        </p:nvSpPr>
        <p:spPr>
          <a:xfrm>
            <a:off x="7081583" y="6165617"/>
            <a:ext cx="3040484" cy="461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Alexandros Papaspyridis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Director, Higher Education, Microsof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326C2D4-B85B-41DF-9F88-C4AC13A221F7}"/>
              </a:ext>
            </a:extLst>
          </p:cNvPr>
          <p:cNvSpPr txBox="1">
            <a:spLocks/>
          </p:cNvSpPr>
          <p:nvPr userDrawn="1"/>
        </p:nvSpPr>
        <p:spPr>
          <a:xfrm>
            <a:off x="334018" y="6972856"/>
            <a:ext cx="10050463" cy="369332"/>
          </a:xfrm>
          <a:prstGeom prst="rect">
            <a:avLst/>
          </a:prstGeom>
          <a:solidFill>
            <a:srgbClr val="2E2E38"/>
          </a:solidFill>
        </p:spPr>
        <p:txBody>
          <a:bodyPr wrap="square">
            <a:spAutoFit/>
          </a:bodyPr>
          <a:lstStyle/>
          <a:p>
            <a:pPr algn="ctr"/>
            <a:r>
              <a:rPr lang="en-GB" sz="1800" b="0" dirty="0">
                <a:solidFill>
                  <a:srgbClr val="FFE600"/>
                </a:solidFill>
                <a:latin typeface="EYInterstate" panose="02000503020000020004" pitchFamily="2" charset="0"/>
              </a:rPr>
              <a:t>Don’t just predict the future. Build a better one. </a:t>
            </a:r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EE756391-C984-4279-B19F-5D6A5E90CB8D}"/>
              </a:ext>
            </a:extLst>
          </p:cNvPr>
          <p:cNvCxnSpPr>
            <a:cxnSpLocks/>
          </p:cNvCxnSpPr>
          <p:nvPr userDrawn="1"/>
        </p:nvCxnSpPr>
        <p:spPr>
          <a:xfrm>
            <a:off x="2214400" y="3795622"/>
            <a:ext cx="6263014" cy="0"/>
          </a:xfrm>
          <a:prstGeom prst="line">
            <a:avLst/>
          </a:prstGeom>
          <a:ln w="28575">
            <a:solidFill>
              <a:srgbClr val="FFE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03382338-D59F-43D1-BDD6-CEB9B868029F}"/>
              </a:ext>
            </a:extLst>
          </p:cNvPr>
          <p:cNvCxnSpPr>
            <a:cxnSpLocks/>
          </p:cNvCxnSpPr>
          <p:nvPr userDrawn="1"/>
        </p:nvCxnSpPr>
        <p:spPr>
          <a:xfrm>
            <a:off x="569746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32A08271-3DEB-49A4-B899-7C61600D1DC4}"/>
              </a:ext>
            </a:extLst>
          </p:cNvPr>
          <p:cNvCxnSpPr>
            <a:cxnSpLocks/>
          </p:cNvCxnSpPr>
          <p:nvPr userDrawn="1"/>
        </p:nvCxnSpPr>
        <p:spPr>
          <a:xfrm>
            <a:off x="7081582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0" name="Group 4">
            <a:extLst>
              <a:ext uri="{FF2B5EF4-FFF2-40B4-BE49-F238E27FC236}">
                <a16:creationId xmlns:a16="http://schemas.microsoft.com/office/drawing/2014/main" id="{5044809D-1320-4B48-BEF6-F0C62017E5D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22844" y="561618"/>
            <a:ext cx="1080000" cy="1282704"/>
            <a:chOff x="4857" y="3364"/>
            <a:chExt cx="622" cy="729"/>
          </a:xfrm>
        </p:grpSpPr>
        <p:sp>
          <p:nvSpPr>
            <p:cNvPr id="171" name="AutoShape 3">
              <a:extLst>
                <a:ext uri="{FF2B5EF4-FFF2-40B4-BE49-F238E27FC236}">
                  <a16:creationId xmlns:a16="http://schemas.microsoft.com/office/drawing/2014/main" id="{5E7BEA53-1940-4BF4-8134-CD6ACFEA8F54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2" name="Freeform 5">
              <a:extLst>
                <a:ext uri="{FF2B5EF4-FFF2-40B4-BE49-F238E27FC236}">
                  <a16:creationId xmlns:a16="http://schemas.microsoft.com/office/drawing/2014/main" id="{6C5F8E9B-E8EE-4952-B94D-B8424625C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3" name="Freeform 6">
              <a:extLst>
                <a:ext uri="{FF2B5EF4-FFF2-40B4-BE49-F238E27FC236}">
                  <a16:creationId xmlns:a16="http://schemas.microsoft.com/office/drawing/2014/main" id="{9D49455B-7C03-472F-8E9A-1ED96B78BC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moveTo>
                    <a:pt x="152" y="1823"/>
                  </a:moveTo>
                  <a:moveTo>
                    <a:pt x="151" y="1685"/>
                  </a:moveTo>
                  <a:moveTo>
                    <a:pt x="298" y="1778"/>
                  </a:moveTo>
                  <a:moveTo>
                    <a:pt x="1143" y="1874"/>
                  </a:moveTo>
                  <a:moveTo>
                    <a:pt x="597" y="1755"/>
                  </a:moveTo>
                  <a:moveTo>
                    <a:pt x="646" y="1585"/>
                  </a:moveTo>
                  <a:moveTo>
                    <a:pt x="877" y="1666"/>
                  </a:moveTo>
                  <a:moveTo>
                    <a:pt x="838" y="1829"/>
                  </a:moveTo>
                  <a:moveTo>
                    <a:pt x="2084" y="1645"/>
                  </a:moveTo>
                  <a:moveTo>
                    <a:pt x="2074" y="1696"/>
                  </a:moveTo>
                  <a:moveTo>
                    <a:pt x="1455" y="1666"/>
                  </a:moveTo>
                  <a:moveTo>
                    <a:pt x="1455" y="1719"/>
                  </a:moveTo>
                  <a:moveTo>
                    <a:pt x="1683" y="1705"/>
                  </a:moveTo>
                  <a:moveTo>
                    <a:pt x="1698" y="1800"/>
                  </a:moveTo>
                  <a:moveTo>
                    <a:pt x="2350" y="1810"/>
                  </a:moveTo>
                  <a:moveTo>
                    <a:pt x="2257" y="1739"/>
                  </a:moveTo>
                  <a:moveTo>
                    <a:pt x="2884" y="1810"/>
                  </a:moveTo>
                  <a:moveTo>
                    <a:pt x="2791" y="1739"/>
                  </a:moveTo>
                  <a:moveTo>
                    <a:pt x="2658" y="1797"/>
                  </a:moveTo>
                  <a:moveTo>
                    <a:pt x="2550" y="1869"/>
                  </a:moveTo>
                  <a:moveTo>
                    <a:pt x="3096" y="1713"/>
                  </a:moveTo>
                  <a:moveTo>
                    <a:pt x="597" y="1591"/>
                  </a:moveTo>
                  <a:moveTo>
                    <a:pt x="981" y="1651"/>
                  </a:moveTo>
                  <a:moveTo>
                    <a:pt x="1037" y="1591"/>
                  </a:moveTo>
                  <a:moveTo>
                    <a:pt x="2558" y="2058"/>
                  </a:moveTo>
                  <a:moveTo>
                    <a:pt x="2519" y="2220"/>
                  </a:moveTo>
                  <a:moveTo>
                    <a:pt x="677" y="2105"/>
                  </a:moveTo>
                  <a:moveTo>
                    <a:pt x="242" y="2042"/>
                  </a:moveTo>
                  <a:moveTo>
                    <a:pt x="409" y="2037"/>
                  </a:moveTo>
                  <a:moveTo>
                    <a:pt x="409" y="2219"/>
                  </a:moveTo>
                  <a:moveTo>
                    <a:pt x="2285" y="2105"/>
                  </a:moveTo>
                  <a:moveTo>
                    <a:pt x="1850" y="2042"/>
                  </a:moveTo>
                  <a:moveTo>
                    <a:pt x="2016" y="2037"/>
                  </a:moveTo>
                  <a:moveTo>
                    <a:pt x="2016" y="2219"/>
                  </a:moveTo>
                  <a:moveTo>
                    <a:pt x="843" y="2116"/>
                  </a:moveTo>
                  <a:moveTo>
                    <a:pt x="1105" y="2266"/>
                  </a:moveTo>
                  <a:moveTo>
                    <a:pt x="1418" y="2058"/>
                  </a:moveTo>
                  <a:moveTo>
                    <a:pt x="1418" y="2110"/>
                  </a:moveTo>
                  <a:moveTo>
                    <a:pt x="945" y="2042"/>
                  </a:moveTo>
                  <a:moveTo>
                    <a:pt x="1000" y="1982"/>
                  </a:moveTo>
                  <a:moveTo>
                    <a:pt x="2325" y="1977"/>
                  </a:moveTo>
                  <a:moveTo>
                    <a:pt x="400" y="762"/>
                  </a:moveTo>
                  <a:moveTo>
                    <a:pt x="1702" y="0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</p:grpSp>
      <p:pic>
        <p:nvPicPr>
          <p:cNvPr id="174" name="Graphic 173">
            <a:extLst>
              <a:ext uri="{FF2B5EF4-FFF2-40B4-BE49-F238E27FC236}">
                <a16:creationId xmlns:a16="http://schemas.microsoft.com/office/drawing/2014/main" id="{16EC7F8A-510D-47E1-8C81-E7D29DC71A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07157" y="808302"/>
            <a:ext cx="2367926" cy="505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301726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277C381A-4832-44EF-BC1F-D344FAAAD711}"/>
              </a:ext>
            </a:extLst>
          </p:cNvPr>
          <p:cNvSpPr>
            <a:spLocks/>
          </p:cNvSpPr>
          <p:nvPr userDrawn="1"/>
        </p:nvSpPr>
        <p:spPr>
          <a:xfrm>
            <a:off x="334018" y="2544457"/>
            <a:ext cx="10035533" cy="2484743"/>
          </a:xfrm>
          <a:prstGeom prst="rect">
            <a:avLst/>
          </a:prstGeom>
          <a:solidFill>
            <a:srgbClr val="74748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8">
            <a:extLst>
              <a:ext uri="{FF2B5EF4-FFF2-40B4-BE49-F238E27FC236}">
                <a16:creationId xmlns:a16="http://schemas.microsoft.com/office/drawing/2014/main" id="{3F42BA56-CAE3-41F7-9275-0DB1B2158BD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19088" y="322263"/>
            <a:ext cx="10050463" cy="7019925"/>
          </a:xfrm>
          <a:prstGeom prst="rect">
            <a:avLst/>
          </a:prstGeom>
          <a:noFill/>
          <a:ln w="23813" cap="flat">
            <a:solidFill>
              <a:srgbClr val="2E2E38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3" name="Freeform 17">
            <a:extLst>
              <a:ext uri="{FF2B5EF4-FFF2-40B4-BE49-F238E27FC236}">
                <a16:creationId xmlns:a16="http://schemas.microsoft.com/office/drawing/2014/main" id="{26EB76D5-7537-4808-BE7E-0FC9CCE11925}"/>
              </a:ext>
            </a:extLst>
          </p:cNvPr>
          <p:cNvSpPr>
            <a:spLocks/>
          </p:cNvSpPr>
          <p:nvPr userDrawn="1"/>
        </p:nvSpPr>
        <p:spPr bwMode="auto">
          <a:xfrm>
            <a:off x="3338514" y="2239657"/>
            <a:ext cx="4014786" cy="574227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R="0" lvl="0" indent="0" algn="ctr" defTabSz="100794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2800" b="1" i="0" u="none" strike="noStrike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</a:rPr>
              <a:t>This is to certify that</a:t>
            </a:r>
            <a:endParaRPr kumimoji="0" lang="en-GB" sz="2800" b="1" i="0" u="none" strike="noStrike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</a:endParaRPr>
          </a:p>
        </p:txBody>
      </p:sp>
      <p:sp>
        <p:nvSpPr>
          <p:cNvPr id="166" name="Subtitle 2">
            <a:extLst>
              <a:ext uri="{FF2B5EF4-FFF2-40B4-BE49-F238E27FC236}">
                <a16:creationId xmlns:a16="http://schemas.microsoft.com/office/drawing/2014/main" id="{0008E2B0-8C2A-41AF-96F4-19FD43337F99}"/>
              </a:ext>
            </a:extLst>
          </p:cNvPr>
          <p:cNvSpPr txBox="1">
            <a:spLocks/>
          </p:cNvSpPr>
          <p:nvPr userDrawn="1"/>
        </p:nvSpPr>
        <p:spPr>
          <a:xfrm>
            <a:off x="2214400" y="3905056"/>
            <a:ext cx="6263014" cy="928572"/>
          </a:xfrm>
          <a:prstGeom prst="rect">
            <a:avLst/>
          </a:prstGeom>
        </p:spPr>
        <p:txBody>
          <a:bodyPr vert="horz" lIns="80189" tIns="40095" rIns="80189" bIns="40095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07943">
              <a:lnSpc>
                <a:spcPct val="100000"/>
              </a:lnSpc>
              <a:spcBef>
                <a:spcPct val="0"/>
              </a:spcBef>
            </a:pP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is a global </a:t>
            </a:r>
            <a:r>
              <a:rPr lang="en-GB" sz="2800" b="1" dirty="0">
                <a:latin typeface="EYInterstate" panose="02000503020000020004" pitchFamily="2" charset="0"/>
                <a:ea typeface="+mj-ea"/>
                <a:cs typeface="+mj-cs"/>
              </a:rPr>
              <a:t>winner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 in the 2022 Better Working World Data Challenge.</a:t>
            </a:r>
            <a:b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</a:br>
            <a:endParaRPr lang="en-GB" dirty="0">
              <a:latin typeface="EYInterstate Light" panose="02000506000000020004" pitchFamily="2" charset="0"/>
              <a:ea typeface="+mj-ea"/>
              <a:cs typeface="+mj-cs"/>
            </a:endParaRPr>
          </a:p>
        </p:txBody>
      </p:sp>
      <p:sp>
        <p:nvSpPr>
          <p:cNvPr id="167" name="Title 35">
            <a:extLst>
              <a:ext uri="{FF2B5EF4-FFF2-40B4-BE49-F238E27FC236}">
                <a16:creationId xmlns:a16="http://schemas.microsoft.com/office/drawing/2014/main" id="{E99C4E33-460E-455E-BE5F-18795CB92B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4400" y="3201833"/>
            <a:ext cx="6263014" cy="574258"/>
          </a:xfrm>
        </p:spPr>
        <p:txBody>
          <a:bodyPr>
            <a:normAutofit/>
          </a:bodyPr>
          <a:lstStyle>
            <a:lvl1pPr algn="ctr">
              <a:defRPr sz="3500" b="1">
                <a:latin typeface="EYInterstate" panose="02000503020000020004" pitchFamily="2" charset="0"/>
              </a:defRPr>
            </a:lvl1pPr>
          </a:lstStyle>
          <a:p>
            <a:r>
              <a:rPr lang="en-US" dirty="0"/>
              <a:t>[Insert Name Here]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5307B001-A857-4A97-B110-28C358E21379}"/>
              </a:ext>
            </a:extLst>
          </p:cNvPr>
          <p:cNvSpPr txBox="1">
            <a:spLocks/>
          </p:cNvSpPr>
          <p:nvPr userDrawn="1"/>
        </p:nvSpPr>
        <p:spPr>
          <a:xfrm>
            <a:off x="569746" y="6165616"/>
            <a:ext cx="330778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Beatriz Sanz Saiz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EY Global Data &amp; Analytics Leader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E28881B7-9B56-45C9-8F51-5B4E7B548053}"/>
              </a:ext>
            </a:extLst>
          </p:cNvPr>
          <p:cNvSpPr txBox="1">
            <a:spLocks/>
          </p:cNvSpPr>
          <p:nvPr userDrawn="1"/>
        </p:nvSpPr>
        <p:spPr>
          <a:xfrm>
            <a:off x="7081583" y="6165617"/>
            <a:ext cx="3040484" cy="461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Alexandros Papaspyridis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Director, Higher Education, Microsof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5E3987-3B16-4B7B-8F8D-4B8F9C35145F}"/>
              </a:ext>
            </a:extLst>
          </p:cNvPr>
          <p:cNvSpPr txBox="1">
            <a:spLocks/>
          </p:cNvSpPr>
          <p:nvPr userDrawn="1"/>
        </p:nvSpPr>
        <p:spPr>
          <a:xfrm>
            <a:off x="334018" y="6972856"/>
            <a:ext cx="10050463" cy="369332"/>
          </a:xfrm>
          <a:prstGeom prst="rect">
            <a:avLst/>
          </a:prstGeom>
          <a:solidFill>
            <a:srgbClr val="2E2E38"/>
          </a:solidFill>
        </p:spPr>
        <p:txBody>
          <a:bodyPr wrap="square">
            <a:spAutoFit/>
          </a:bodyPr>
          <a:lstStyle/>
          <a:p>
            <a:pPr algn="ctr"/>
            <a:r>
              <a:rPr lang="en-GB" sz="1800" b="0" dirty="0">
                <a:solidFill>
                  <a:srgbClr val="FFE600"/>
                </a:solidFill>
                <a:latin typeface="EYInterstate" panose="02000503020000020004" pitchFamily="2" charset="0"/>
              </a:rPr>
              <a:t>Don’t just predict the future. Build a better one. </a:t>
            </a:r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EE756391-C984-4279-B19F-5D6A5E90CB8D}"/>
              </a:ext>
            </a:extLst>
          </p:cNvPr>
          <p:cNvCxnSpPr>
            <a:cxnSpLocks/>
          </p:cNvCxnSpPr>
          <p:nvPr userDrawn="1"/>
        </p:nvCxnSpPr>
        <p:spPr>
          <a:xfrm>
            <a:off x="2214400" y="3795622"/>
            <a:ext cx="6263014" cy="0"/>
          </a:xfrm>
          <a:prstGeom prst="line">
            <a:avLst/>
          </a:prstGeom>
          <a:ln w="28575">
            <a:solidFill>
              <a:srgbClr val="FFE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03382338-D59F-43D1-BDD6-CEB9B868029F}"/>
              </a:ext>
            </a:extLst>
          </p:cNvPr>
          <p:cNvCxnSpPr>
            <a:cxnSpLocks/>
          </p:cNvCxnSpPr>
          <p:nvPr userDrawn="1"/>
        </p:nvCxnSpPr>
        <p:spPr>
          <a:xfrm>
            <a:off x="569746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32A08271-3DEB-49A4-B899-7C61600D1DC4}"/>
              </a:ext>
            </a:extLst>
          </p:cNvPr>
          <p:cNvCxnSpPr>
            <a:cxnSpLocks/>
          </p:cNvCxnSpPr>
          <p:nvPr userDrawn="1"/>
        </p:nvCxnSpPr>
        <p:spPr>
          <a:xfrm>
            <a:off x="7081582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0" name="Group 4">
            <a:extLst>
              <a:ext uri="{FF2B5EF4-FFF2-40B4-BE49-F238E27FC236}">
                <a16:creationId xmlns:a16="http://schemas.microsoft.com/office/drawing/2014/main" id="{5044809D-1320-4B48-BEF6-F0C62017E5D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22844" y="561618"/>
            <a:ext cx="1080000" cy="1282704"/>
            <a:chOff x="4857" y="3364"/>
            <a:chExt cx="622" cy="729"/>
          </a:xfrm>
        </p:grpSpPr>
        <p:sp>
          <p:nvSpPr>
            <p:cNvPr id="171" name="AutoShape 3">
              <a:extLst>
                <a:ext uri="{FF2B5EF4-FFF2-40B4-BE49-F238E27FC236}">
                  <a16:creationId xmlns:a16="http://schemas.microsoft.com/office/drawing/2014/main" id="{5E7BEA53-1940-4BF4-8134-CD6ACFEA8F54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2" name="Freeform 5">
              <a:extLst>
                <a:ext uri="{FF2B5EF4-FFF2-40B4-BE49-F238E27FC236}">
                  <a16:creationId xmlns:a16="http://schemas.microsoft.com/office/drawing/2014/main" id="{6C5F8E9B-E8EE-4952-B94D-B8424625C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3" name="Freeform 6">
              <a:extLst>
                <a:ext uri="{FF2B5EF4-FFF2-40B4-BE49-F238E27FC236}">
                  <a16:creationId xmlns:a16="http://schemas.microsoft.com/office/drawing/2014/main" id="{9D49455B-7C03-472F-8E9A-1ED96B78BC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moveTo>
                    <a:pt x="152" y="1823"/>
                  </a:moveTo>
                  <a:moveTo>
                    <a:pt x="151" y="1685"/>
                  </a:moveTo>
                  <a:moveTo>
                    <a:pt x="298" y="1778"/>
                  </a:moveTo>
                  <a:moveTo>
                    <a:pt x="1143" y="1874"/>
                  </a:moveTo>
                  <a:moveTo>
                    <a:pt x="597" y="1755"/>
                  </a:moveTo>
                  <a:moveTo>
                    <a:pt x="646" y="1585"/>
                  </a:moveTo>
                  <a:moveTo>
                    <a:pt x="877" y="1666"/>
                  </a:moveTo>
                  <a:moveTo>
                    <a:pt x="838" y="1829"/>
                  </a:moveTo>
                  <a:moveTo>
                    <a:pt x="2084" y="1645"/>
                  </a:moveTo>
                  <a:moveTo>
                    <a:pt x="2074" y="1696"/>
                  </a:moveTo>
                  <a:moveTo>
                    <a:pt x="1455" y="1666"/>
                  </a:moveTo>
                  <a:moveTo>
                    <a:pt x="1455" y="1719"/>
                  </a:moveTo>
                  <a:moveTo>
                    <a:pt x="1683" y="1705"/>
                  </a:moveTo>
                  <a:moveTo>
                    <a:pt x="1698" y="1800"/>
                  </a:moveTo>
                  <a:moveTo>
                    <a:pt x="2350" y="1810"/>
                  </a:moveTo>
                  <a:moveTo>
                    <a:pt x="2257" y="1739"/>
                  </a:moveTo>
                  <a:moveTo>
                    <a:pt x="2884" y="1810"/>
                  </a:moveTo>
                  <a:moveTo>
                    <a:pt x="2791" y="1739"/>
                  </a:moveTo>
                  <a:moveTo>
                    <a:pt x="2658" y="1797"/>
                  </a:moveTo>
                  <a:moveTo>
                    <a:pt x="2550" y="1869"/>
                  </a:moveTo>
                  <a:moveTo>
                    <a:pt x="3096" y="1713"/>
                  </a:moveTo>
                  <a:moveTo>
                    <a:pt x="597" y="1591"/>
                  </a:moveTo>
                  <a:moveTo>
                    <a:pt x="981" y="1651"/>
                  </a:moveTo>
                  <a:moveTo>
                    <a:pt x="1037" y="1591"/>
                  </a:moveTo>
                  <a:moveTo>
                    <a:pt x="2558" y="2058"/>
                  </a:moveTo>
                  <a:moveTo>
                    <a:pt x="2519" y="2220"/>
                  </a:moveTo>
                  <a:moveTo>
                    <a:pt x="677" y="2105"/>
                  </a:moveTo>
                  <a:moveTo>
                    <a:pt x="242" y="2042"/>
                  </a:moveTo>
                  <a:moveTo>
                    <a:pt x="409" y="2037"/>
                  </a:moveTo>
                  <a:moveTo>
                    <a:pt x="409" y="2219"/>
                  </a:moveTo>
                  <a:moveTo>
                    <a:pt x="2285" y="2105"/>
                  </a:moveTo>
                  <a:moveTo>
                    <a:pt x="1850" y="2042"/>
                  </a:moveTo>
                  <a:moveTo>
                    <a:pt x="2016" y="2037"/>
                  </a:moveTo>
                  <a:moveTo>
                    <a:pt x="2016" y="2219"/>
                  </a:moveTo>
                  <a:moveTo>
                    <a:pt x="843" y="2116"/>
                  </a:moveTo>
                  <a:moveTo>
                    <a:pt x="1105" y="2266"/>
                  </a:moveTo>
                  <a:moveTo>
                    <a:pt x="1418" y="2058"/>
                  </a:moveTo>
                  <a:moveTo>
                    <a:pt x="1418" y="2110"/>
                  </a:moveTo>
                  <a:moveTo>
                    <a:pt x="945" y="2042"/>
                  </a:moveTo>
                  <a:moveTo>
                    <a:pt x="1000" y="1982"/>
                  </a:moveTo>
                  <a:moveTo>
                    <a:pt x="2325" y="1977"/>
                  </a:moveTo>
                  <a:moveTo>
                    <a:pt x="400" y="762"/>
                  </a:moveTo>
                  <a:moveTo>
                    <a:pt x="1702" y="0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</p:grpSp>
      <p:pic>
        <p:nvPicPr>
          <p:cNvPr id="174" name="Graphic 173">
            <a:extLst>
              <a:ext uri="{FF2B5EF4-FFF2-40B4-BE49-F238E27FC236}">
                <a16:creationId xmlns:a16="http://schemas.microsoft.com/office/drawing/2014/main" id="{16EC7F8A-510D-47E1-8C81-E7D29DC71A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07157" y="808302"/>
            <a:ext cx="2367926" cy="505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364939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/>
        </p:nvSpPr>
        <p:spPr>
          <a:xfrm>
            <a:off x="436596" y="877070"/>
            <a:ext cx="4321490" cy="3947923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78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679727" y="2154167"/>
            <a:ext cx="3794294" cy="1079940"/>
          </a:xfrm>
        </p:spPr>
        <p:txBody>
          <a:bodyPr/>
          <a:lstStyle>
            <a:lvl1pPr>
              <a:defRPr sz="263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679727" y="3357826"/>
            <a:ext cx="3794294" cy="1153377"/>
          </a:xfrm>
        </p:spPr>
        <p:txBody>
          <a:bodyPr/>
          <a:lstStyle>
            <a:lvl1pPr marL="0" indent="0" algn="l">
              <a:spcAft>
                <a:spcPts val="1052"/>
              </a:spcAft>
              <a:buNone/>
              <a:defRPr sz="1753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402" b="1">
                <a:solidFill>
                  <a:srgbClr val="404040"/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/>
        </p:nvSpPr>
        <p:spPr>
          <a:xfrm>
            <a:off x="404928" y="6178696"/>
            <a:ext cx="916003" cy="21779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052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68532" y="6635041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68532" y="6852878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4927" y="6519798"/>
            <a:ext cx="504862" cy="634933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789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/>
        </p:nvCxnSpPr>
        <p:spPr>
          <a:xfrm>
            <a:off x="1168532" y="6293181"/>
            <a:ext cx="7118994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</p:spTree>
    <p:extLst>
      <p:ext uri="{BB962C8B-B14F-4D97-AF65-F5344CB8AC3E}">
        <p14:creationId xmlns:p14="http://schemas.microsoft.com/office/powerpoint/2010/main" val="3740853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/>
        </p:nvSpPr>
        <p:spPr>
          <a:xfrm>
            <a:off x="436596" y="877070"/>
            <a:ext cx="4321490" cy="3947923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78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679727" y="2154167"/>
            <a:ext cx="3794294" cy="1079940"/>
          </a:xfrm>
        </p:spPr>
        <p:txBody>
          <a:bodyPr/>
          <a:lstStyle>
            <a:lvl1pPr>
              <a:defRPr sz="263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679727" y="3357826"/>
            <a:ext cx="3794294" cy="1153377"/>
          </a:xfrm>
        </p:spPr>
        <p:txBody>
          <a:bodyPr/>
          <a:lstStyle>
            <a:lvl1pPr marL="0" indent="0" algn="l">
              <a:spcAft>
                <a:spcPts val="1052"/>
              </a:spcAft>
              <a:buNone/>
              <a:defRPr sz="1753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402" b="1">
                <a:solidFill>
                  <a:srgbClr val="404040"/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/>
        </p:nvSpPr>
        <p:spPr>
          <a:xfrm>
            <a:off x="404928" y="6178696"/>
            <a:ext cx="916003" cy="21779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052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4928" y="6635041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928" y="6852878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/>
        </p:nvCxnSpPr>
        <p:spPr>
          <a:xfrm>
            <a:off x="1168532" y="6293181"/>
            <a:ext cx="7118994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 4">
            <a:extLst>
              <a:ext uri="{FF2B5EF4-FFF2-40B4-BE49-F238E27FC236}">
                <a16:creationId xmlns:a16="http://schemas.microsoft.com/office/drawing/2014/main" id="{5CE71800-5B4B-4F94-8DA1-A2C05D9E875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58FB548F-77B7-4F42-8CF1-C53943386A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40005A69-42DA-4C6D-A41C-62C78DAFEF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</p:spTree>
    <p:extLst>
      <p:ext uri="{BB962C8B-B14F-4D97-AF65-F5344CB8AC3E}">
        <p14:creationId xmlns:p14="http://schemas.microsoft.com/office/powerpoint/2010/main" val="5351884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/>
        </p:nvGrpSpPr>
        <p:grpSpPr>
          <a:xfrm>
            <a:off x="436597" y="6422761"/>
            <a:ext cx="3399074" cy="628534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moveTo>
                    <a:pt x="25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moveTo>
                    <a:pt x="25" y="12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53"/>
                  </a:lnTo>
                  <a:lnTo>
                    <a:pt x="25" y="12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moveTo>
                    <a:pt x="1" y="53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lose/>
                  <a:close/>
                  <a:lnTo>
                    <a:pt x="1" y="53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moveTo>
                    <a:pt x="26" y="20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moveTo>
                    <a:pt x="25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moveTo>
                    <a:pt x="24" y="22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39"/>
                  </a:lnTo>
                  <a:lnTo>
                    <a:pt x="24" y="22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moveTo>
                    <a:pt x="25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close/>
                  <a:close/>
                  <a:lnTo>
                    <a:pt x="26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moveTo>
                    <a:pt x="27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moveTo>
                    <a:pt x="24" y="26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53"/>
                  </a:lnTo>
                  <a:lnTo>
                    <a:pt x="24" y="26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moveTo>
                    <a:pt x="27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  <p:sp>
        <p:nvSpPr>
          <p:cNvPr id="18" name="Title 1"/>
          <p:cNvSpPr>
            <a:spLocks noGrp="1"/>
          </p:cNvSpPr>
          <p:nvPr>
            <p:ph type="ctrTitle"/>
          </p:nvPr>
        </p:nvSpPr>
        <p:spPr>
          <a:xfrm>
            <a:off x="828184" y="2379158"/>
            <a:ext cx="4193057" cy="948432"/>
          </a:xfrm>
          <a:prstGeom prst="rect">
            <a:avLst/>
          </a:prstGeom>
        </p:spPr>
        <p:txBody>
          <a:bodyPr/>
          <a:lstStyle>
            <a:lvl1pPr>
              <a:defRPr sz="263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828353" y="3527770"/>
            <a:ext cx="4214220" cy="7118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753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402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/>
        </p:nvSpPr>
        <p:spPr>
          <a:xfrm>
            <a:off x="428928" y="797699"/>
            <a:ext cx="4979329" cy="3806176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578" dirty="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28928" y="4433241"/>
            <a:ext cx="132918" cy="167163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578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679020" y="4433241"/>
            <a:ext cx="132918" cy="167163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578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929008" y="4433241"/>
            <a:ext cx="132918" cy="167163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578" dirty="0"/>
          </a:p>
        </p:txBody>
      </p:sp>
    </p:spTree>
    <p:extLst>
      <p:ext uri="{BB962C8B-B14F-4D97-AF65-F5344CB8AC3E}">
        <p14:creationId xmlns:p14="http://schemas.microsoft.com/office/powerpoint/2010/main" val="34024113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/>
        </p:nvGrpSpPr>
        <p:grpSpPr>
          <a:xfrm>
            <a:off x="436597" y="6422761"/>
            <a:ext cx="3399074" cy="628534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moveTo>
                    <a:pt x="25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moveTo>
                    <a:pt x="25" y="12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53"/>
                  </a:lnTo>
                  <a:lnTo>
                    <a:pt x="25" y="12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moveTo>
                    <a:pt x="1" y="53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lose/>
                  <a:close/>
                  <a:lnTo>
                    <a:pt x="1" y="53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moveTo>
                    <a:pt x="26" y="20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moveTo>
                    <a:pt x="25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moveTo>
                    <a:pt x="24" y="22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39"/>
                  </a:lnTo>
                  <a:lnTo>
                    <a:pt x="24" y="22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moveTo>
                    <a:pt x="25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close/>
                  <a:close/>
                  <a:lnTo>
                    <a:pt x="26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moveTo>
                    <a:pt x="27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moveTo>
                    <a:pt x="24" y="26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53"/>
                  </a:lnTo>
                  <a:lnTo>
                    <a:pt x="24" y="26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moveTo>
                    <a:pt x="27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/>
        </p:nvGrpSpPr>
        <p:grpSpPr>
          <a:xfrm>
            <a:off x="428928" y="965692"/>
            <a:ext cx="4255650" cy="3719734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78" dirty="0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78" dirty="0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78" dirty="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78" dirty="0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28184" y="2379158"/>
            <a:ext cx="3506369" cy="948432"/>
          </a:xfrm>
          <a:prstGeom prst="rect">
            <a:avLst/>
          </a:prstGeom>
        </p:spPr>
        <p:txBody>
          <a:bodyPr/>
          <a:lstStyle>
            <a:lvl1pPr>
              <a:defRPr sz="263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28352" y="3527770"/>
            <a:ext cx="3524067" cy="7118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753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402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42958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 sz="2104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4591" y="1254346"/>
            <a:ext cx="9622632" cy="54541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369FE1-2141-4E78-8B01-84E57EEFE0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D63E5D-D4D4-47A0-B3D2-9C348E301267}" type="datetime3">
              <a:rPr lang="en-US" smtClean="0"/>
              <a:t>24 March 2025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4482B3-B946-42D6-98EA-72EE48EEB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2990847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 sz="2104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D5E823-546D-4100-9D33-42F450A38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A9E02A-78D6-48B7-A389-464ED573BA5D}" type="datetime3">
              <a:rPr lang="en-US" smtClean="0"/>
              <a:t>24 March 2025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EEA008-3E80-49A8-A128-C1EEB8A02F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192330-2E70-49F4-A5DA-F82320E70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7584939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186502" y="1"/>
            <a:ext cx="3505313" cy="678596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2" y="324301"/>
            <a:ext cx="6525011" cy="650807"/>
          </a:xfrm>
        </p:spPr>
        <p:txBody>
          <a:bodyPr/>
          <a:lstStyle>
            <a:lvl1pPr>
              <a:defRPr sz="2104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4591" y="1254347"/>
            <a:ext cx="6398112" cy="963159"/>
          </a:xfrm>
        </p:spPr>
        <p:txBody>
          <a:bodyPr/>
          <a:lstStyle>
            <a:lvl1pPr marL="0" indent="0">
              <a:buNone/>
              <a:defRPr sz="1578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34591" y="2547892"/>
            <a:ext cx="3137961" cy="4238074"/>
          </a:xfrm>
        </p:spPr>
        <p:txBody>
          <a:bodyPr numCol="1"/>
          <a:lstStyle>
            <a:lvl1pPr marL="0" indent="0">
              <a:buNone/>
              <a:defRPr sz="1227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3794743" y="2547892"/>
            <a:ext cx="3137961" cy="1383139"/>
          </a:xfrm>
        </p:spPr>
        <p:txBody>
          <a:bodyPr numCol="1"/>
          <a:lstStyle>
            <a:lvl1pPr marL="0" indent="0">
              <a:buNone/>
              <a:defRPr sz="1227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794743" y="4670201"/>
            <a:ext cx="3137961" cy="2143076"/>
          </a:xfrm>
        </p:spPr>
        <p:txBody>
          <a:bodyPr numCol="1"/>
          <a:lstStyle>
            <a:lvl1pPr marL="0" indent="0">
              <a:buNone/>
              <a:defRPr sz="1578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6769932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73C7F4-1F66-48B4-8A7F-96C64986A20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E49E8CE-5235-4494-B0FD-9ECC8206E96E}" type="datetime3">
              <a:rPr lang="en-US" smtClean="0"/>
              <a:t>24 March 2025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8F1198-1F5C-4C8B-A7E4-2658430FBC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EA2D1B-5973-42E9-87B4-02C40C0EF1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1986206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2089971" cy="755967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62416" y="324301"/>
            <a:ext cx="7793808" cy="650807"/>
          </a:xfrm>
        </p:spPr>
        <p:txBody>
          <a:bodyPr/>
          <a:lstStyle>
            <a:lvl1pPr>
              <a:defRPr sz="2104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362415" y="1254347"/>
            <a:ext cx="2404127" cy="5531619"/>
          </a:xfrm>
        </p:spPr>
        <p:txBody>
          <a:bodyPr/>
          <a:lstStyle>
            <a:lvl1pPr marL="0" indent="0">
              <a:buNone/>
              <a:defRPr sz="1578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019769" y="1254347"/>
            <a:ext cx="2457558" cy="5531619"/>
          </a:xfrm>
        </p:spPr>
        <p:txBody>
          <a:bodyPr numCol="1"/>
          <a:lstStyle>
            <a:lvl1pPr marL="0" indent="0">
              <a:buNone/>
              <a:defRPr sz="1227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730553" y="1254348"/>
            <a:ext cx="2426669" cy="3082239"/>
          </a:xfrm>
        </p:spPr>
        <p:txBody>
          <a:bodyPr numCol="1"/>
          <a:lstStyle>
            <a:lvl1pPr marL="0" indent="0">
              <a:buNone/>
              <a:defRPr sz="1227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/>
        </p:nvSpPr>
        <p:spPr bwMode="auto">
          <a:xfrm>
            <a:off x="2362416" y="1000626"/>
            <a:ext cx="7793808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8571DE-086F-444C-976E-D386CED54CF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CFB1ADCF-7548-48F2-B4E3-18B2C0EE8460}" type="datetime3">
              <a:rPr lang="en-US" smtClean="0"/>
              <a:t>24 March 2025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178D09-F6E9-4981-B6E0-209D099207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E170B6-45D3-4E0A-A799-1F973EAAC5E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190943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186502" y="1"/>
            <a:ext cx="3505313" cy="678596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2" y="324301"/>
            <a:ext cx="6525011" cy="650807"/>
          </a:xfrm>
        </p:spPr>
        <p:txBody>
          <a:bodyPr/>
          <a:lstStyle>
            <a:lvl1pPr>
              <a:defRPr sz="2104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4591" y="1254347"/>
            <a:ext cx="6398112" cy="963159"/>
          </a:xfrm>
        </p:spPr>
        <p:txBody>
          <a:bodyPr/>
          <a:lstStyle>
            <a:lvl1pPr marL="0" indent="0">
              <a:buNone/>
              <a:defRPr sz="1578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34591" y="2547892"/>
            <a:ext cx="3137961" cy="4238074"/>
          </a:xfrm>
        </p:spPr>
        <p:txBody>
          <a:bodyPr numCol="1"/>
          <a:lstStyle>
            <a:lvl1pPr marL="0" indent="0">
              <a:buNone/>
              <a:defRPr sz="1227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3794743" y="2547892"/>
            <a:ext cx="3137961" cy="1383139"/>
          </a:xfrm>
        </p:spPr>
        <p:txBody>
          <a:bodyPr numCol="1"/>
          <a:lstStyle>
            <a:lvl1pPr marL="0" indent="0">
              <a:buNone/>
              <a:defRPr sz="1227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794743" y="4670201"/>
            <a:ext cx="3137961" cy="2143076"/>
          </a:xfrm>
        </p:spPr>
        <p:txBody>
          <a:bodyPr numCol="1"/>
          <a:lstStyle>
            <a:lvl1pPr marL="0" indent="0">
              <a:buNone/>
              <a:defRPr sz="1578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6525012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FDA286-FC7C-4768-AFFF-1618056D687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24/03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C73E4D-1EBD-404A-B8F4-9B8AD7336F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159C267-49E7-46A8-B353-C5EB81154AB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1814040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4591" y="1254346"/>
            <a:ext cx="7221232" cy="532947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57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402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227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354617-5A1F-4D8E-8075-F2918D0E9D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66D130-B426-4A46-85E5-B0049A4DA5C7}" type="datetime3">
              <a:rPr lang="en-US" smtClean="0"/>
              <a:t>24 March 2025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DAB026-E283-44F4-8795-9843856846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3657FA-64A4-4818-8A20-F1ACA6AC59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5265814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9228" y="3143275"/>
            <a:ext cx="3898482" cy="1325333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155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12574" marR="0" lvl="0" indent="-312574" defTabSz="88341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0C2D9D-B0D7-494E-9184-FCD6E94AACE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6A95EDC0-9791-477B-BA1D-1692FE9BFBAA}" type="datetime3">
              <a:rPr lang="en-US" smtClean="0"/>
              <a:t>24 March 2025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7FD91A-AB40-450B-8784-9A5D99C62D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CE5F90-7113-4FA1-AFCF-3BC8EF0100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4481026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9228" y="3143275"/>
            <a:ext cx="3898482" cy="1325333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155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12574" marR="0" lvl="0" indent="-312574" defTabSz="88341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8C87A56-4269-4E89-A9DC-9C8F44424A9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FBFE83-FB75-47BB-81F0-F0FF13E5BA5A}" type="datetime3">
              <a:rPr lang="en-US" smtClean="0"/>
              <a:t>24 March 2025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0FA45C8-6E1A-407F-B671-050EFF081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A593FC-3F10-4238-9F6D-C447302109D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8286377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/>
        </p:nvSpPr>
        <p:spPr>
          <a:xfrm>
            <a:off x="418397" y="1641266"/>
            <a:ext cx="2049589" cy="946710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9817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9950" y="2785290"/>
            <a:ext cx="4638420" cy="1984167"/>
          </a:xfrm>
        </p:spPr>
        <p:txBody>
          <a:bodyPr lIns="90000" tIns="46800" rIns="90000" bIns="46800"/>
          <a:lstStyle>
            <a:lvl1pPr marL="0" indent="0">
              <a:buNone/>
              <a:defRPr lang="en-US" sz="2454" dirty="0" smtClean="0">
                <a:latin typeface="Georgia" panose="02040502050405020303" pitchFamily="18" charset="0"/>
              </a:defRPr>
            </a:lvl1pPr>
          </a:lstStyle>
          <a:p>
            <a:pPr marL="312574" lvl="0" indent="-312574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950" y="5106766"/>
            <a:ext cx="4638420" cy="349255"/>
          </a:xfrm>
        </p:spPr>
        <p:txBody>
          <a:bodyPr lIns="90000" tIns="46800" rIns="90000" bIns="46800"/>
          <a:lstStyle>
            <a:lvl1pPr marL="0" indent="0" algn="l" defTabSz="801472" rtl="0" eaLnBrk="1" latinLnBrk="0" hangingPunct="1">
              <a:spcBef>
                <a:spcPts val="0"/>
              </a:spcBef>
              <a:spcAft>
                <a:spcPts val="526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402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12574" indent="0">
              <a:buNone/>
              <a:defRPr lang="en-US" sz="1753" smtClean="0">
                <a:latin typeface="+mn-lt"/>
              </a:defRPr>
            </a:lvl2pPr>
            <a:lvl3pPr>
              <a:defRPr lang="en-US" sz="1578" smtClean="0">
                <a:latin typeface="+mn-lt"/>
              </a:defRPr>
            </a:lvl3pPr>
            <a:lvl4pPr>
              <a:defRPr lang="en-US" sz="1402" smtClean="0">
                <a:latin typeface="+mn-lt"/>
              </a:defRPr>
            </a:lvl4pPr>
            <a:lvl5pPr>
              <a:defRPr lang="en-IN" sz="1402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950" y="5480094"/>
            <a:ext cx="4638420" cy="349255"/>
          </a:xfrm>
        </p:spPr>
        <p:txBody>
          <a:bodyPr lIns="90000" tIns="46800" rIns="90000" bIns="46800"/>
          <a:lstStyle>
            <a:lvl1pPr marL="0" indent="0" algn="l" defTabSz="801472" rtl="0" eaLnBrk="1" latinLnBrk="0" hangingPunct="1">
              <a:spcBef>
                <a:spcPts val="0"/>
              </a:spcBef>
              <a:spcAft>
                <a:spcPts val="526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402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12574" indent="0">
              <a:buNone/>
              <a:defRPr lang="en-US" sz="1753" smtClean="0">
                <a:latin typeface="+mn-lt"/>
              </a:defRPr>
            </a:lvl2pPr>
            <a:lvl3pPr>
              <a:defRPr lang="en-US" sz="1578" smtClean="0">
                <a:latin typeface="+mn-lt"/>
              </a:defRPr>
            </a:lvl3pPr>
            <a:lvl4pPr>
              <a:defRPr lang="en-US" sz="1402" smtClean="0">
                <a:latin typeface="+mn-lt"/>
              </a:defRPr>
            </a:lvl4pPr>
            <a:lvl5pPr>
              <a:defRPr lang="en-IN" sz="1402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67057265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26697" y="2271027"/>
            <a:ext cx="4638420" cy="333507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454" dirty="0" smtClean="0">
                <a:latin typeface="Georgia" panose="02040502050405020303" pitchFamily="18" charset="0"/>
              </a:defRPr>
            </a:lvl1pPr>
          </a:lstStyle>
          <a:p>
            <a:pPr marL="312574" lvl="0" indent="-312574" algn="ctr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26697" y="6070093"/>
            <a:ext cx="4638420" cy="349255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402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12574" lvl="0" indent="-312574" algn="ctr">
              <a:spcBef>
                <a:spcPts val="0"/>
              </a:spcBef>
              <a:spcAft>
                <a:spcPts val="526"/>
              </a:spcAft>
            </a:pPr>
            <a:r>
              <a:rPr lang="en-US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26697" y="6414058"/>
            <a:ext cx="4638420" cy="349255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402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12574" lvl="0" indent="-312574" algn="ctr">
              <a:spcBef>
                <a:spcPts val="0"/>
              </a:spcBef>
              <a:spcAft>
                <a:spcPts val="526"/>
              </a:spcAft>
            </a:pPr>
            <a:r>
              <a:rPr lang="en-US" dirty="0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/>
        </p:nvSpPr>
        <p:spPr>
          <a:xfrm>
            <a:off x="4321112" y="1080034"/>
            <a:ext cx="2049589" cy="9729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9817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149322389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58102" y="0"/>
            <a:ext cx="5233711" cy="755967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4046" y="2842586"/>
            <a:ext cx="3977506" cy="1163723"/>
          </a:xfrm>
        </p:spPr>
        <p:txBody>
          <a:bodyPr/>
          <a:lstStyle>
            <a:lvl1pPr marL="0" indent="0">
              <a:buNone/>
              <a:defRPr sz="2630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4046" y="4233312"/>
            <a:ext cx="3977506" cy="1163723"/>
          </a:xfrm>
        </p:spPr>
        <p:txBody>
          <a:bodyPr/>
          <a:lstStyle>
            <a:lvl1pPr marL="0" indent="0">
              <a:buNone/>
              <a:defRPr sz="1402"/>
            </a:lvl1pPr>
          </a:lstStyle>
          <a:p>
            <a:pPr lvl="0"/>
            <a:r>
              <a:rPr lang="en-IN" dirty="0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EABBDA-A77F-45A2-9996-90CD0EE5C38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1057AB47-DE48-402E-B5B7-CB9A0D0B7D44}" type="datetime3">
              <a:rPr lang="en-US" smtClean="0"/>
              <a:t>24 March 2025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883B36-3BA3-42B4-A811-65C0AF01A8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D9C98C-F30E-45BC-A1D9-67DB57119D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9709447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534590" y="1254347"/>
            <a:ext cx="4345237" cy="4704081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IN" dirty="0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52455" y="4203444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52455" y="4470913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366796" y="3944174"/>
            <a:ext cx="682755" cy="858658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789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66796" y="1254347"/>
            <a:ext cx="4790427" cy="41205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66796" y="1802295"/>
            <a:ext cx="4790427" cy="1776440"/>
          </a:xfrm>
        </p:spPr>
        <p:txBody>
          <a:bodyPr/>
          <a:lstStyle>
            <a:lvl1pPr marL="0" indent="0">
              <a:buNone/>
              <a:defRPr sz="1402"/>
            </a:lvl1pPr>
          </a:lstStyle>
          <a:p>
            <a:pPr lvl="0"/>
            <a:r>
              <a:rPr lang="en-US" dirty="0"/>
              <a:t>Content EY Interstate Light, 16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661012-3455-4F88-94AD-14869D2D540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86AD1DFC-053D-4B86-B715-9C611EC38679}" type="datetime3">
              <a:rPr lang="en-US" smtClean="0"/>
              <a:t>24 March 2025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1FBA45-9D10-4CA1-B5FE-DF08BC4B79D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C45D8-BA71-4A92-82B2-C059AF6B670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8034817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2">
            <a:extLst>
              <a:ext uri="{FF2B5EF4-FFF2-40B4-BE49-F238E27FC236}">
                <a16:creationId xmlns:a16="http://schemas.microsoft.com/office/drawing/2014/main" id="{4C1DA39D-5D13-4872-BC0A-CB8AB5BA72E1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252450" y="7133348"/>
            <a:ext cx="1044134" cy="19841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6AD1DFC-053D-4B86-B715-9C611EC38679}" type="datetime3">
              <a:rPr lang="en-US" smtClean="0"/>
              <a:pPr/>
              <a:t>24 March 2025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C6805F9C-AE33-484C-B4D0-CAEB9CD9CE0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2839138" y="7133348"/>
            <a:ext cx="2704956" cy="19841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2804EB2-F7DB-4D56-A6D4-7706480DB27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540992" y="7133348"/>
            <a:ext cx="581175" cy="19841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5767787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4591" y="1254346"/>
            <a:ext cx="7221232" cy="532947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12574">
              <a:defRPr>
                <a:solidFill>
                  <a:schemeClr val="bg1"/>
                </a:solidFill>
              </a:defRPr>
            </a:lvl2pPr>
            <a:lvl3pPr marL="625148">
              <a:defRPr>
                <a:solidFill>
                  <a:schemeClr val="bg1"/>
                </a:solidFill>
              </a:defRPr>
            </a:lvl3pPr>
            <a:lvl4pPr marL="937722">
              <a:defRPr>
                <a:solidFill>
                  <a:schemeClr val="bg1"/>
                </a:solidFill>
              </a:defRPr>
            </a:lvl4pPr>
            <a:lvl5pPr marL="1250296"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EFDBB3-7C34-4E5E-AD13-1B49910A26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C4D46D-36B7-425F-AEB7-676F0E436ACC}" type="datetime3">
              <a:rPr lang="en-US" smtClean="0"/>
              <a:t>24 March 2025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D0F565-A080-4523-A04C-6DEE2789C3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977AFB-BAAB-4831-9B67-3646A934EC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4249933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13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C197511-0A94-4CF5-9020-59041E7FD0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683591-978A-463D-B9B3-9852A288C9B6}" type="datetime3">
              <a:rPr lang="en-US" smtClean="0"/>
              <a:t>24 March 2025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EEF30F-48C0-4828-BF78-0AF655745C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84586F-9A9C-4BEB-AF2F-2F8B1B885C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152007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2089971" cy="755967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62416" y="324301"/>
            <a:ext cx="7793808" cy="650807"/>
          </a:xfrm>
        </p:spPr>
        <p:txBody>
          <a:bodyPr/>
          <a:lstStyle>
            <a:lvl1pPr>
              <a:defRPr sz="2104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362415" y="1254347"/>
            <a:ext cx="2404127" cy="5531619"/>
          </a:xfrm>
        </p:spPr>
        <p:txBody>
          <a:bodyPr/>
          <a:lstStyle>
            <a:lvl1pPr marL="0" indent="0">
              <a:buNone/>
              <a:defRPr sz="1578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019769" y="1254347"/>
            <a:ext cx="2457558" cy="5531619"/>
          </a:xfrm>
        </p:spPr>
        <p:txBody>
          <a:bodyPr numCol="1"/>
          <a:lstStyle>
            <a:lvl1pPr marL="0" indent="0">
              <a:buNone/>
              <a:defRPr sz="1227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730553" y="1254348"/>
            <a:ext cx="2426669" cy="3082239"/>
          </a:xfrm>
        </p:spPr>
        <p:txBody>
          <a:bodyPr numCol="1"/>
          <a:lstStyle>
            <a:lvl1pPr marL="0" indent="0">
              <a:buNone/>
              <a:defRPr sz="1227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/>
        </p:nvSpPr>
        <p:spPr bwMode="auto">
          <a:xfrm>
            <a:off x="2362416" y="1000626"/>
            <a:ext cx="7793808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7DDD53-DA5D-4F66-8EAA-913A40461E30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24/03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A18168-B280-402E-8310-35BC958D390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D562B9-5194-4705-ABBD-89576E2CC7A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514309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13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4591" y="1254345"/>
            <a:ext cx="4722218" cy="5329472"/>
          </a:xfrm>
        </p:spPr>
        <p:txBody>
          <a:bodyPr/>
          <a:lstStyle>
            <a:lvl1pPr>
              <a:defRPr sz="1753">
                <a:solidFill>
                  <a:schemeClr val="bg1"/>
                </a:solidFill>
              </a:defRPr>
            </a:lvl1pPr>
            <a:lvl2pPr>
              <a:defRPr sz="1578">
                <a:solidFill>
                  <a:schemeClr val="bg1"/>
                </a:solidFill>
              </a:defRPr>
            </a:lvl2pPr>
            <a:lvl3pPr>
              <a:defRPr sz="1402">
                <a:solidFill>
                  <a:schemeClr val="bg1"/>
                </a:solidFill>
              </a:defRPr>
            </a:lvl3pPr>
            <a:lvl4pPr>
              <a:defRPr sz="1227">
                <a:solidFill>
                  <a:schemeClr val="bg1"/>
                </a:solidFill>
              </a:defRPr>
            </a:lvl4pPr>
            <a:lvl5pPr>
              <a:defRPr sz="1052">
                <a:solidFill>
                  <a:schemeClr val="bg1"/>
                </a:solidFill>
              </a:defRPr>
            </a:lvl5pPr>
            <a:lvl6pPr>
              <a:defRPr sz="1578"/>
            </a:lvl6pPr>
            <a:lvl7pPr>
              <a:defRPr sz="1578"/>
            </a:lvl7pPr>
            <a:lvl8pPr>
              <a:defRPr sz="1578"/>
            </a:lvl8pPr>
            <a:lvl9pPr>
              <a:defRPr sz="157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35005" y="1254345"/>
            <a:ext cx="4722218" cy="5329472"/>
          </a:xfrm>
        </p:spPr>
        <p:txBody>
          <a:bodyPr/>
          <a:lstStyle>
            <a:lvl1pPr>
              <a:defRPr sz="1753">
                <a:solidFill>
                  <a:schemeClr val="bg1"/>
                </a:solidFill>
              </a:defRPr>
            </a:lvl1pPr>
            <a:lvl2pPr>
              <a:defRPr sz="1578">
                <a:solidFill>
                  <a:schemeClr val="bg1"/>
                </a:solidFill>
              </a:defRPr>
            </a:lvl2pPr>
            <a:lvl3pPr>
              <a:defRPr sz="1402">
                <a:solidFill>
                  <a:schemeClr val="bg1"/>
                </a:solidFill>
              </a:defRPr>
            </a:lvl3pPr>
            <a:lvl4pPr>
              <a:defRPr sz="1227">
                <a:solidFill>
                  <a:schemeClr val="bg1"/>
                </a:solidFill>
              </a:defRPr>
            </a:lvl4pPr>
            <a:lvl5pPr>
              <a:defRPr sz="1052">
                <a:solidFill>
                  <a:schemeClr val="bg1"/>
                </a:solidFill>
              </a:defRPr>
            </a:lvl5pPr>
            <a:lvl6pPr>
              <a:defRPr sz="1578"/>
            </a:lvl6pPr>
            <a:lvl7pPr>
              <a:defRPr sz="1578"/>
            </a:lvl7pPr>
            <a:lvl8pPr>
              <a:defRPr sz="1578"/>
            </a:lvl8pPr>
            <a:lvl9pPr>
              <a:defRPr sz="157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4DE21E-2E07-4ED3-B534-8AED469C8F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6CAE4F-17A3-4837-8418-FB6AD56A8907}" type="datetime3">
              <a:rPr lang="en-US" smtClean="0"/>
              <a:t>24 March 2025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601461-720E-4840-BF9B-D9C7BF8C9E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AACE970-AAFF-42C7-8A32-759BAA7BA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0949370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984" y="2060712"/>
            <a:ext cx="4727129" cy="4691535"/>
          </a:xfrm>
        </p:spPr>
        <p:txBody>
          <a:bodyPr/>
          <a:lstStyle>
            <a:lvl1pPr>
              <a:defRPr sz="1753">
                <a:solidFill>
                  <a:schemeClr val="bg1"/>
                </a:solidFill>
              </a:defRPr>
            </a:lvl1pPr>
            <a:lvl2pPr>
              <a:defRPr sz="1578">
                <a:solidFill>
                  <a:schemeClr val="bg1"/>
                </a:solidFill>
              </a:defRPr>
            </a:lvl2pPr>
            <a:lvl3pPr>
              <a:defRPr sz="1402">
                <a:solidFill>
                  <a:schemeClr val="bg1"/>
                </a:solidFill>
              </a:defRPr>
            </a:lvl3pPr>
            <a:lvl4pPr>
              <a:defRPr sz="1227">
                <a:solidFill>
                  <a:schemeClr val="bg1"/>
                </a:solidFill>
              </a:defRPr>
            </a:lvl4pPr>
            <a:lvl5pPr>
              <a:defRPr sz="1052">
                <a:solidFill>
                  <a:schemeClr val="bg1"/>
                </a:solidFill>
              </a:defRPr>
            </a:lvl5pPr>
            <a:lvl6pPr>
              <a:defRPr sz="1578"/>
            </a:lvl6pPr>
            <a:lvl7pPr>
              <a:defRPr sz="1578"/>
            </a:lvl7pPr>
            <a:lvl8pPr>
              <a:defRPr sz="1578"/>
            </a:lvl8pPr>
            <a:lvl9pPr>
              <a:defRPr sz="157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33957" y="2060712"/>
            <a:ext cx="4727129" cy="4691535"/>
          </a:xfrm>
        </p:spPr>
        <p:txBody>
          <a:bodyPr/>
          <a:lstStyle>
            <a:lvl1pPr>
              <a:defRPr sz="1753">
                <a:solidFill>
                  <a:schemeClr val="bg1"/>
                </a:solidFill>
              </a:defRPr>
            </a:lvl1pPr>
            <a:lvl2pPr>
              <a:defRPr sz="1578">
                <a:solidFill>
                  <a:schemeClr val="bg1"/>
                </a:solidFill>
              </a:defRPr>
            </a:lvl2pPr>
            <a:lvl3pPr>
              <a:defRPr sz="1402">
                <a:solidFill>
                  <a:schemeClr val="bg1"/>
                </a:solidFill>
              </a:defRPr>
            </a:lvl3pPr>
            <a:lvl4pPr>
              <a:defRPr sz="1227">
                <a:solidFill>
                  <a:schemeClr val="bg1"/>
                </a:solidFill>
              </a:defRPr>
            </a:lvl4pPr>
            <a:lvl5pPr>
              <a:defRPr sz="1052">
                <a:solidFill>
                  <a:schemeClr val="bg1"/>
                </a:solidFill>
              </a:defRPr>
            </a:lvl5pPr>
            <a:lvl6pPr>
              <a:defRPr sz="1578"/>
            </a:lvl6pPr>
            <a:lvl7pPr>
              <a:defRPr sz="1578"/>
            </a:lvl7pPr>
            <a:lvl8pPr>
              <a:defRPr sz="1578"/>
            </a:lvl8pPr>
            <a:lvl9pPr>
              <a:defRPr sz="157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34591" y="1254346"/>
            <a:ext cx="4727129" cy="706363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33957" y="1254346"/>
            <a:ext cx="4727129" cy="706363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13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3CD3F7-62DC-4CC4-8F34-C353DB087D7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29E1942-EB53-47E3-BCA7-F99D05C795EC}" type="datetime3">
              <a:rPr lang="en-US" smtClean="0"/>
              <a:t>24 March 2025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D2EC01-3D34-4D32-9B76-5269D1AA46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BE1C2B-4DA4-468F-9976-85F6CBF82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814219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7B5C6B-B98B-4A4C-A8A7-B006989B59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C88E1-FE33-48AD-9218-9258D62CDCC4}" type="datetime3">
              <a:rPr lang="en-US" smtClean="0"/>
              <a:t>24 March 2025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EF6675-2050-4038-B9E1-B80DB63D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A4D6F3-1431-4069-B814-255846677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678891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897186E-D73E-46D0-965A-D83686BA73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FE8F4A-3FA1-4A64-AE77-2254BB85F3D2}" type="datetime3">
              <a:rPr lang="en-US" smtClean="0"/>
              <a:t>24 March 2025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EF40EA-FE63-4D50-8C90-EC25A860C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37420B-CF82-4784-8E9C-5C496E27C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6715796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D5388A-86DF-494E-B137-EE20B7E1CF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FBADE3-2F67-4EB8-B1F9-B00F8B809757}" type="datetime3">
              <a:rPr lang="en-US" smtClean="0"/>
              <a:t>24 March 2025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97E548-6FF4-4D89-ADE0-60181F536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0B0A8B-D001-432B-877C-21558412B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33201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D9F631-BCA2-47E9-B382-A1254CE498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D9080-1DFC-4303-893C-6B8A3FEC05E8}" type="datetime3">
              <a:rPr lang="en-US" smtClean="0"/>
              <a:t>24 March 2025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1D1872-1F65-44DE-8D43-3328C27B58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6C50CF-7368-4D25-B2B5-360BA59E7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664340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088154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0691813" cy="755967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43830C-23AE-48E4-B9DE-E91E6CE0B8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A8381BA6-C3FD-495B-9B56-A30783EC7416}" type="datetime3">
              <a:rPr lang="en-US" smtClean="0"/>
              <a:t>24 March 2025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F742A9-BF69-4BF2-966C-3D76FC687FB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65F912-EBE8-413B-A241-0FB3A540BA8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2658226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4223874-3AD1-4756-B25E-8234DD3717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3" y="0"/>
            <a:ext cx="10686247" cy="7559675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32734" y="792717"/>
            <a:ext cx="4099931" cy="5743129"/>
          </a:xfrm>
        </p:spPr>
        <p:txBody>
          <a:bodyPr/>
          <a:lstStyle>
            <a:lvl1pPr marL="0" indent="0" algn="l" defTabSz="872436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052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54451" indent="-154451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0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65582" indent="-165582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01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7985693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3">
            <a:extLst>
              <a:ext uri="{FF2B5EF4-FFF2-40B4-BE49-F238E27FC236}">
                <a16:creationId xmlns:a16="http://schemas.microsoft.com/office/drawing/2014/main" id="{C94B4409-2B48-4C2E-B122-78CAC0F697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5" y="0"/>
            <a:ext cx="10686247" cy="7559675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32734" y="792717"/>
            <a:ext cx="4099931" cy="5743129"/>
          </a:xfrm>
        </p:spPr>
        <p:txBody>
          <a:bodyPr/>
          <a:lstStyle>
            <a:lvl1pPr marL="0" indent="0" algn="l" defTabSz="872436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052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54451" indent="-154451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0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65582" indent="-165582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01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157069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4591" y="1254346"/>
            <a:ext cx="7221232" cy="532947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57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402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227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869D6F-A030-48CA-9C7C-9FC3A6F1F6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24/03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02C3F7-BD0A-4AD4-95D8-328DA6F53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4422C8-68BE-4650-89F1-3BECCFF9B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960378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3">
            <a:extLst>
              <a:ext uri="{FF2B5EF4-FFF2-40B4-BE49-F238E27FC236}">
                <a16:creationId xmlns:a16="http://schemas.microsoft.com/office/drawing/2014/main" id="{512A84B0-F10A-4A02-AD57-E01F7676B6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3" y="0"/>
            <a:ext cx="10686252" cy="7559675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32734" y="792717"/>
            <a:ext cx="4099931" cy="5743129"/>
          </a:xfrm>
        </p:spPr>
        <p:txBody>
          <a:bodyPr/>
          <a:lstStyle>
            <a:lvl1pPr marL="0" indent="0" algn="l" defTabSz="872436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052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54451" indent="-154451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0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65582" indent="-165582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01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3515810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923404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Picture 44" descr="A white circle with yellow lines&#10;&#10;Description automatically generated">
            <a:extLst>
              <a:ext uri="{FF2B5EF4-FFF2-40B4-BE49-F238E27FC236}">
                <a16:creationId xmlns:a16="http://schemas.microsoft.com/office/drawing/2014/main" id="{19C03405-DDBC-D7EF-EE8B-1E3539F68E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22"/>
          <a:stretch/>
        </p:blipFill>
        <p:spPr>
          <a:xfrm>
            <a:off x="0" y="0"/>
            <a:ext cx="10691813" cy="7559675"/>
          </a:xfrm>
          <a:prstGeom prst="rect">
            <a:avLst/>
          </a:prstGeom>
        </p:spPr>
      </p:pic>
      <p:sp>
        <p:nvSpPr>
          <p:cNvPr id="2" name="Right Triangle 1">
            <a:extLst>
              <a:ext uri="{FF2B5EF4-FFF2-40B4-BE49-F238E27FC236}">
                <a16:creationId xmlns:a16="http://schemas.microsoft.com/office/drawing/2014/main" id="{D44C8846-825E-EE10-3034-35D6DD60D3B6}"/>
              </a:ext>
            </a:extLst>
          </p:cNvPr>
          <p:cNvSpPr/>
          <p:nvPr userDrawn="1"/>
        </p:nvSpPr>
        <p:spPr>
          <a:xfrm rot="10800000">
            <a:off x="8345773" y="0"/>
            <a:ext cx="2346040" cy="2042016"/>
          </a:xfrm>
          <a:prstGeom prst="rtTriangle">
            <a:avLst/>
          </a:prstGeom>
          <a:solidFill>
            <a:srgbClr val="2D2E3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626496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32A4959B-EEEF-BC01-5212-50777D4986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4205" t="28614" r="25302" b="28614"/>
          <a:stretch/>
        </p:blipFill>
        <p:spPr>
          <a:xfrm>
            <a:off x="-1" y="0"/>
            <a:ext cx="10691814" cy="7559675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68599072-661E-0DE6-3E5C-F590384F435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14338" y="366626"/>
            <a:ext cx="9863138" cy="6826424"/>
          </a:xfrm>
          <a:prstGeom prst="rect">
            <a:avLst/>
          </a:prstGeom>
        </p:spPr>
      </p:pic>
      <p:sp>
        <p:nvSpPr>
          <p:cNvPr id="4" name="Graphic 13">
            <a:extLst>
              <a:ext uri="{FF2B5EF4-FFF2-40B4-BE49-F238E27FC236}">
                <a16:creationId xmlns:a16="http://schemas.microsoft.com/office/drawing/2014/main" id="{20A8FE85-EEEB-6044-3D3D-FB1D8CE487C1}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0"/>
            <a:ext cx="2904100" cy="7559362"/>
          </a:xfrm>
          <a:custGeom>
            <a:avLst/>
            <a:gdLst>
              <a:gd name="connsiteX0" fmla="*/ 2333149 w 2333244"/>
              <a:gd name="connsiteY0" fmla="*/ 5357051 h 6073425"/>
              <a:gd name="connsiteX1" fmla="*/ 2225612 w 2333244"/>
              <a:gd name="connsiteY1" fmla="*/ 6073426 h 6073425"/>
              <a:gd name="connsiteX2" fmla="*/ 0 w 2333244"/>
              <a:gd name="connsiteY2" fmla="*/ 6073426 h 6073425"/>
              <a:gd name="connsiteX3" fmla="*/ 0 w 2333244"/>
              <a:gd name="connsiteY3" fmla="*/ 0 h 6073425"/>
              <a:gd name="connsiteX4" fmla="*/ 878015 w 2333244"/>
              <a:gd name="connsiteY4" fmla="*/ 0 h 6073425"/>
              <a:gd name="connsiteX5" fmla="*/ 876110 w 2333244"/>
              <a:gd name="connsiteY5" fmla="*/ 3619 h 6073425"/>
              <a:gd name="connsiteX6" fmla="*/ 717899 w 2333244"/>
              <a:gd name="connsiteY6" fmla="*/ 1297400 h 6073425"/>
              <a:gd name="connsiteX7" fmla="*/ 1233107 w 2333244"/>
              <a:gd name="connsiteY7" fmla="*/ 2631281 h 6073425"/>
              <a:gd name="connsiteX8" fmla="*/ 1949863 w 2333244"/>
              <a:gd name="connsiteY8" fmla="*/ 3914204 h 6073425"/>
              <a:gd name="connsiteX9" fmla="*/ 2330291 w 2333244"/>
              <a:gd name="connsiteY9" fmla="*/ 5238941 h 6073425"/>
              <a:gd name="connsiteX10" fmla="*/ 2333244 w 2333244"/>
              <a:gd name="connsiteY10" fmla="*/ 5357051 h 6073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333244" h="6073425">
                <a:moveTo>
                  <a:pt x="2333149" y="5357051"/>
                </a:moveTo>
                <a:cubicBezTo>
                  <a:pt x="2333149" y="5587175"/>
                  <a:pt x="2299716" y="5856447"/>
                  <a:pt x="2225612" y="6073426"/>
                </a:cubicBezTo>
                <a:cubicBezTo>
                  <a:pt x="877348" y="1238"/>
                  <a:pt x="876586" y="2381"/>
                  <a:pt x="876110" y="3619"/>
                </a:cubicBezTo>
                <a:cubicBezTo>
                  <a:pt x="674561" y="399193"/>
                  <a:pt x="644652" y="865061"/>
                  <a:pt x="717899" y="1297400"/>
                </a:cubicBezTo>
                <a:cubicBezTo>
                  <a:pt x="798100" y="1771269"/>
                  <a:pt x="1003459" y="2213039"/>
                  <a:pt x="1233107" y="2631281"/>
                </a:cubicBezTo>
                <a:cubicBezTo>
                  <a:pt x="1468946" y="3060669"/>
                  <a:pt x="1735455" y="3473101"/>
                  <a:pt x="1949863" y="3914204"/>
                </a:cubicBezTo>
                <a:cubicBezTo>
                  <a:pt x="2151793" y="4329780"/>
                  <a:pt x="2307527" y="4774025"/>
                  <a:pt x="2330291" y="5238941"/>
                </a:cubicBezTo>
                <a:cubicBezTo>
                  <a:pt x="2332196" y="5278184"/>
                  <a:pt x="2333244" y="5317617"/>
                  <a:pt x="2333244" y="5357051"/>
                </a:cubicBezTo>
                <a:lnTo>
                  <a:pt x="0" y="6073426"/>
                </a:lnTo>
                <a:lnTo>
                  <a:pt x="0" y="0"/>
                </a:lnTo>
                <a:lnTo>
                  <a:pt x="878015" y="0"/>
                </a:lnTo>
                <a:close/>
              </a:path>
            </a:pathLst>
          </a:custGeom>
          <a:solidFill>
            <a:srgbClr val="C4C4CD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" name="Graphic 13">
            <a:extLst>
              <a:ext uri="{FF2B5EF4-FFF2-40B4-BE49-F238E27FC236}">
                <a16:creationId xmlns:a16="http://schemas.microsoft.com/office/drawing/2014/main" id="{C2085C4A-E897-41AA-1CA5-41194C830896}"/>
              </a:ext>
            </a:extLst>
          </p:cNvPr>
          <p:cNvSpPr>
            <a:spLocks noChangeAspect="1"/>
          </p:cNvSpPr>
          <p:nvPr userDrawn="1"/>
        </p:nvSpPr>
        <p:spPr>
          <a:xfrm>
            <a:off x="0" y="0"/>
            <a:ext cx="2904100" cy="7559362"/>
          </a:xfrm>
          <a:custGeom>
            <a:avLst/>
            <a:gdLst>
              <a:gd name="connsiteX0" fmla="*/ 2333149 w 2333244"/>
              <a:gd name="connsiteY0" fmla="*/ 5357051 h 6073425"/>
              <a:gd name="connsiteX1" fmla="*/ 2225612 w 2333244"/>
              <a:gd name="connsiteY1" fmla="*/ 6073426 h 6073425"/>
              <a:gd name="connsiteX2" fmla="*/ 0 w 2333244"/>
              <a:gd name="connsiteY2" fmla="*/ 6073426 h 6073425"/>
              <a:gd name="connsiteX3" fmla="*/ 0 w 2333244"/>
              <a:gd name="connsiteY3" fmla="*/ 0 h 6073425"/>
              <a:gd name="connsiteX4" fmla="*/ 878015 w 2333244"/>
              <a:gd name="connsiteY4" fmla="*/ 0 h 6073425"/>
              <a:gd name="connsiteX5" fmla="*/ 876110 w 2333244"/>
              <a:gd name="connsiteY5" fmla="*/ 3619 h 6073425"/>
              <a:gd name="connsiteX6" fmla="*/ 717899 w 2333244"/>
              <a:gd name="connsiteY6" fmla="*/ 1297400 h 6073425"/>
              <a:gd name="connsiteX7" fmla="*/ 1233107 w 2333244"/>
              <a:gd name="connsiteY7" fmla="*/ 2631281 h 6073425"/>
              <a:gd name="connsiteX8" fmla="*/ 1949863 w 2333244"/>
              <a:gd name="connsiteY8" fmla="*/ 3914204 h 6073425"/>
              <a:gd name="connsiteX9" fmla="*/ 2330291 w 2333244"/>
              <a:gd name="connsiteY9" fmla="*/ 5238941 h 6073425"/>
              <a:gd name="connsiteX10" fmla="*/ 2333244 w 2333244"/>
              <a:gd name="connsiteY10" fmla="*/ 5357051 h 6073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333244" h="6073425">
                <a:moveTo>
                  <a:pt x="2333149" y="5357051"/>
                </a:moveTo>
                <a:cubicBezTo>
                  <a:pt x="2333149" y="5587175"/>
                  <a:pt x="2299716" y="5856447"/>
                  <a:pt x="2225612" y="6073426"/>
                </a:cubicBezTo>
                <a:cubicBezTo>
                  <a:pt x="877348" y="1238"/>
                  <a:pt x="876586" y="2381"/>
                  <a:pt x="876110" y="3619"/>
                </a:cubicBezTo>
                <a:cubicBezTo>
                  <a:pt x="674561" y="399193"/>
                  <a:pt x="644652" y="865061"/>
                  <a:pt x="717899" y="1297400"/>
                </a:cubicBezTo>
                <a:cubicBezTo>
                  <a:pt x="798100" y="1771269"/>
                  <a:pt x="1003459" y="2213039"/>
                  <a:pt x="1233107" y="2631281"/>
                </a:cubicBezTo>
                <a:cubicBezTo>
                  <a:pt x="1468946" y="3060669"/>
                  <a:pt x="1735455" y="3473101"/>
                  <a:pt x="1949863" y="3914204"/>
                </a:cubicBezTo>
                <a:cubicBezTo>
                  <a:pt x="2151793" y="4329780"/>
                  <a:pt x="2307527" y="4774025"/>
                  <a:pt x="2330291" y="5238941"/>
                </a:cubicBezTo>
                <a:cubicBezTo>
                  <a:pt x="2332196" y="5278184"/>
                  <a:pt x="2333244" y="5317617"/>
                  <a:pt x="2333244" y="5357051"/>
                </a:cubicBezTo>
                <a:lnTo>
                  <a:pt x="0" y="6073426"/>
                </a:lnTo>
                <a:lnTo>
                  <a:pt x="0" y="0"/>
                </a:lnTo>
                <a:lnTo>
                  <a:pt x="878015" y="0"/>
                </a:lnTo>
                <a:close/>
              </a:path>
            </a:pathLst>
          </a:custGeom>
          <a:solidFill>
            <a:srgbClr val="747480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" name="Graphic 10">
            <a:extLst>
              <a:ext uri="{FF2B5EF4-FFF2-40B4-BE49-F238E27FC236}">
                <a16:creationId xmlns:a16="http://schemas.microsoft.com/office/drawing/2014/main" id="{93B4917C-9F14-B833-EEB5-25D4BECDA513}"/>
              </a:ext>
            </a:extLst>
          </p:cNvPr>
          <p:cNvSpPr/>
          <p:nvPr userDrawn="1"/>
        </p:nvSpPr>
        <p:spPr>
          <a:xfrm>
            <a:off x="0" y="0"/>
            <a:ext cx="3263900" cy="7559362"/>
          </a:xfrm>
          <a:custGeom>
            <a:avLst/>
            <a:gdLst>
              <a:gd name="connsiteX0" fmla="*/ 2444020 w 2605909"/>
              <a:gd name="connsiteY0" fmla="*/ 1162431 h 6035421"/>
              <a:gd name="connsiteX1" fmla="*/ 1756220 w 2605909"/>
              <a:gd name="connsiteY1" fmla="*/ 2387251 h 6035421"/>
              <a:gd name="connsiteX2" fmla="*/ 1101852 w 2605909"/>
              <a:gd name="connsiteY2" fmla="*/ 3630930 h 6035421"/>
              <a:gd name="connsiteX3" fmla="*/ 943166 w 2605909"/>
              <a:gd name="connsiteY3" fmla="*/ 4970145 h 6035421"/>
              <a:gd name="connsiteX4" fmla="*/ 1189958 w 2605909"/>
              <a:gd name="connsiteY4" fmla="*/ 6035421 h 6035421"/>
              <a:gd name="connsiteX5" fmla="*/ 0 w 2605909"/>
              <a:gd name="connsiteY5" fmla="*/ 6035421 h 6035421"/>
              <a:gd name="connsiteX6" fmla="*/ 0 w 2605909"/>
              <a:gd name="connsiteY6" fmla="*/ 0 h 6035421"/>
              <a:gd name="connsiteX7" fmla="*/ 2573846 w 2605909"/>
              <a:gd name="connsiteY7" fmla="*/ 0 h 6035421"/>
              <a:gd name="connsiteX8" fmla="*/ 2444020 w 2605909"/>
              <a:gd name="connsiteY8" fmla="*/ 1162431 h 6035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05909" h="6035421">
                <a:moveTo>
                  <a:pt x="2444020" y="1162431"/>
                </a:moveTo>
                <a:cubicBezTo>
                  <a:pt x="2280095" y="1604486"/>
                  <a:pt x="2014061" y="1995869"/>
                  <a:pt x="1756220" y="2387251"/>
                </a:cubicBezTo>
                <a:cubicBezTo>
                  <a:pt x="1497425" y="2779871"/>
                  <a:pt x="1247013" y="3180302"/>
                  <a:pt x="1101852" y="3630930"/>
                </a:cubicBezTo>
                <a:cubicBezTo>
                  <a:pt x="963263" y="4061841"/>
                  <a:pt x="910781" y="4518851"/>
                  <a:pt x="943166" y="4970145"/>
                </a:cubicBezTo>
                <a:cubicBezTo>
                  <a:pt x="969359" y="5335239"/>
                  <a:pt x="1052132" y="5696331"/>
                  <a:pt x="1189958" y="6035421"/>
                </a:cubicBezTo>
                <a:cubicBezTo>
                  <a:pt x="2651570" y="387096"/>
                  <a:pt x="2580132" y="795338"/>
                  <a:pt x="2444020" y="1162431"/>
                </a:cubicBezTo>
                <a:lnTo>
                  <a:pt x="0" y="6035421"/>
                </a:lnTo>
                <a:lnTo>
                  <a:pt x="0" y="0"/>
                </a:lnTo>
                <a:lnTo>
                  <a:pt x="2573846" y="0"/>
                </a:lnTo>
                <a:close/>
              </a:path>
            </a:pathLst>
          </a:cu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28631D1-2090-6593-7B25-5419D99F133A}"/>
              </a:ext>
            </a:extLst>
          </p:cNvPr>
          <p:cNvGrpSpPr/>
          <p:nvPr userDrawn="1"/>
        </p:nvGrpSpPr>
        <p:grpSpPr>
          <a:xfrm>
            <a:off x="1343820" y="-22717"/>
            <a:ext cx="2324237" cy="7582392"/>
            <a:chOff x="1343820" y="-22717"/>
            <a:chExt cx="2315599" cy="7554213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470819D5-2245-D9B3-999A-26E1A3F69AD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538520" y="-22717"/>
              <a:ext cx="2120899" cy="7554213"/>
            </a:xfrm>
            <a:prstGeom prst="rect">
              <a:avLst/>
            </a:prstGeom>
          </p:spPr>
        </p:pic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0C214F12-9E84-7340-6A98-ACF79E5972C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343820" y="-22717"/>
              <a:ext cx="2120899" cy="755421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0050677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/>
        </p:nvSpPr>
        <p:spPr>
          <a:xfrm>
            <a:off x="436596" y="877070"/>
            <a:ext cx="4321490" cy="3947923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78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679727" y="2154167"/>
            <a:ext cx="3794294" cy="1079940"/>
          </a:xfrm>
        </p:spPr>
        <p:txBody>
          <a:bodyPr/>
          <a:lstStyle>
            <a:lvl1pPr>
              <a:defRPr sz="263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679727" y="3357826"/>
            <a:ext cx="3794294" cy="1153377"/>
          </a:xfrm>
        </p:spPr>
        <p:txBody>
          <a:bodyPr/>
          <a:lstStyle>
            <a:lvl1pPr marL="0" indent="0" algn="l">
              <a:spcAft>
                <a:spcPts val="1052"/>
              </a:spcAft>
              <a:buNone/>
              <a:defRPr sz="1753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402" b="1">
                <a:solidFill>
                  <a:srgbClr val="404040"/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</p:spTree>
    <p:extLst>
      <p:ext uri="{BB962C8B-B14F-4D97-AF65-F5344CB8AC3E}">
        <p14:creationId xmlns:p14="http://schemas.microsoft.com/office/powerpoint/2010/main" val="74697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18" Type="http://schemas.openxmlformats.org/officeDocument/2006/relationships/slideLayout" Target="../slideLayouts/slideLayout79.xml"/><Relationship Id="rId26" Type="http://schemas.openxmlformats.org/officeDocument/2006/relationships/slideLayout" Target="../slideLayouts/slideLayout87.xml"/><Relationship Id="rId3" Type="http://schemas.openxmlformats.org/officeDocument/2006/relationships/slideLayout" Target="../slideLayouts/slideLayout64.xml"/><Relationship Id="rId21" Type="http://schemas.openxmlformats.org/officeDocument/2006/relationships/slideLayout" Target="../slideLayouts/slideLayout82.xml"/><Relationship Id="rId34" Type="http://schemas.openxmlformats.org/officeDocument/2006/relationships/theme" Target="../theme/theme2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slideLayout" Target="../slideLayouts/slideLayout78.xml"/><Relationship Id="rId25" Type="http://schemas.openxmlformats.org/officeDocument/2006/relationships/slideLayout" Target="../slideLayouts/slideLayout86.xml"/><Relationship Id="rId33" Type="http://schemas.openxmlformats.org/officeDocument/2006/relationships/slideLayout" Target="../slideLayouts/slideLayout94.xml"/><Relationship Id="rId2" Type="http://schemas.openxmlformats.org/officeDocument/2006/relationships/slideLayout" Target="../slideLayouts/slideLayout63.xml"/><Relationship Id="rId16" Type="http://schemas.openxmlformats.org/officeDocument/2006/relationships/slideLayout" Target="../slideLayouts/slideLayout77.xml"/><Relationship Id="rId20" Type="http://schemas.openxmlformats.org/officeDocument/2006/relationships/slideLayout" Target="../slideLayouts/slideLayout81.xml"/><Relationship Id="rId29" Type="http://schemas.openxmlformats.org/officeDocument/2006/relationships/slideLayout" Target="../slideLayouts/slideLayout90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24" Type="http://schemas.openxmlformats.org/officeDocument/2006/relationships/slideLayout" Target="../slideLayouts/slideLayout85.xml"/><Relationship Id="rId32" Type="http://schemas.openxmlformats.org/officeDocument/2006/relationships/slideLayout" Target="../slideLayouts/slideLayout93.xml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23" Type="http://schemas.openxmlformats.org/officeDocument/2006/relationships/slideLayout" Target="../slideLayouts/slideLayout84.xml"/><Relationship Id="rId28" Type="http://schemas.openxmlformats.org/officeDocument/2006/relationships/slideLayout" Target="../slideLayouts/slideLayout89.xml"/><Relationship Id="rId10" Type="http://schemas.openxmlformats.org/officeDocument/2006/relationships/slideLayout" Target="../slideLayouts/slideLayout71.xml"/><Relationship Id="rId19" Type="http://schemas.openxmlformats.org/officeDocument/2006/relationships/slideLayout" Target="../slideLayouts/slideLayout80.xml"/><Relationship Id="rId31" Type="http://schemas.openxmlformats.org/officeDocument/2006/relationships/slideLayout" Target="../slideLayouts/slideLayout92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Relationship Id="rId22" Type="http://schemas.openxmlformats.org/officeDocument/2006/relationships/slideLayout" Target="../slideLayouts/slideLayout83.xml"/><Relationship Id="rId27" Type="http://schemas.openxmlformats.org/officeDocument/2006/relationships/slideLayout" Target="../slideLayouts/slideLayout88.xml"/><Relationship Id="rId30" Type="http://schemas.openxmlformats.org/officeDocument/2006/relationships/slideLayout" Target="../slideLayouts/slideLayout9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13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591" y="1254346"/>
            <a:ext cx="9622632" cy="54541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00772EA-C6B0-4F5D-AA59-01C0858EFA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52450" y="7133348"/>
            <a:ext cx="1044134" cy="19841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801472" rtl="0" eaLnBrk="1" latinLnBrk="0" hangingPunct="1">
              <a:defRPr lang="en-IN" sz="701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DAD400B9-C497-4CB6-BBCC-A1D96E446387}" type="datetimeFigureOut">
              <a:rPr lang="en-GB" smtClean="0"/>
              <a:t>24/03/2025</a:t>
            </a:fld>
            <a:endParaRPr lang="en-GB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AC28FA70-87E4-49F4-AFDE-345AA28E0B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39138" y="7133348"/>
            <a:ext cx="2704956" cy="19841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801472" rtl="0" eaLnBrk="1" latinLnBrk="0" hangingPunct="1">
              <a:defRPr lang="en-IN" sz="701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3B540F9A-D485-4BD0-B905-41F8A5259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40992" y="7133348"/>
            <a:ext cx="581175" cy="19841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801472" rtl="0" eaLnBrk="1" latinLnBrk="0" hangingPunct="1">
              <a:defRPr lang="en-IN" sz="701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BA621AC-91DA-4716-A450-56540FA39C3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893128" y="7006699"/>
            <a:ext cx="265765" cy="342985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6E3EDA9-8EAC-419E-8C11-4E1E158AF7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ABC9458B-8C2C-486A-8ADE-F22CCDC7E2F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0A4C4046-69B4-41DA-AA2E-E892AEC9A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303D6A76-0837-4695-8F12-1C2D4292EA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3"/>
            </p:custDataLst>
            <p:extLst>
              <p:ext uri="{D42A27DB-BD31-4B8C-83A1-F6EECF244321}">
                <p14:modId xmlns:p14="http://schemas.microsoft.com/office/powerpoint/2010/main" val="1296832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4" imgW="395" imgH="396" progId="TCLayout.ActiveDocument.1">
                  <p:embed/>
                </p:oleObj>
              </mc:Choice>
              <mc:Fallback>
                <p:oleObj name="think-cell Slide" r:id="rId64" imgW="395" imgH="39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303D6A76-0837-4695-8F12-1C2D4292EA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34233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  <p:sldLayoutId id="2147483718" r:id="rId17"/>
    <p:sldLayoutId id="2147483719" r:id="rId18"/>
    <p:sldLayoutId id="2147483720" r:id="rId19"/>
    <p:sldLayoutId id="2147483721" r:id="rId20"/>
    <p:sldLayoutId id="2147483722" r:id="rId21"/>
    <p:sldLayoutId id="2147483723" r:id="rId22"/>
    <p:sldLayoutId id="2147483724" r:id="rId23"/>
    <p:sldLayoutId id="2147483725" r:id="rId24"/>
    <p:sldLayoutId id="2147483726" r:id="rId25"/>
    <p:sldLayoutId id="2147483727" r:id="rId26"/>
    <p:sldLayoutId id="2147483728" r:id="rId27"/>
    <p:sldLayoutId id="2147483729" r:id="rId28"/>
    <p:sldLayoutId id="2147483730" r:id="rId29"/>
    <p:sldLayoutId id="2147483731" r:id="rId30"/>
    <p:sldLayoutId id="2147483732" r:id="rId31"/>
    <p:sldLayoutId id="2147483733" r:id="rId32"/>
    <p:sldLayoutId id="2147483734" r:id="rId33"/>
    <p:sldLayoutId id="2147483735" r:id="rId34"/>
    <p:sldLayoutId id="2147483736" r:id="rId35"/>
    <p:sldLayoutId id="2147483737" r:id="rId36"/>
    <p:sldLayoutId id="2147483738" r:id="rId37"/>
    <p:sldLayoutId id="2147483739" r:id="rId38"/>
    <p:sldLayoutId id="2147483740" r:id="rId39"/>
    <p:sldLayoutId id="2147483741" r:id="rId40"/>
    <p:sldLayoutId id="2147483742" r:id="rId41"/>
    <p:sldLayoutId id="2147483743" r:id="rId42"/>
    <p:sldLayoutId id="2147483744" r:id="rId43"/>
    <p:sldLayoutId id="2147483745" r:id="rId44"/>
    <p:sldLayoutId id="2147483746" r:id="rId45"/>
    <p:sldLayoutId id="2147483747" r:id="rId46"/>
    <p:sldLayoutId id="2147483748" r:id="rId47"/>
    <p:sldLayoutId id="2147483749" r:id="rId48"/>
    <p:sldLayoutId id="2147483750" r:id="rId49"/>
    <p:sldLayoutId id="2147483751" r:id="rId50"/>
    <p:sldLayoutId id="2147483752" r:id="rId51"/>
    <p:sldLayoutId id="2147483753" r:id="rId52"/>
    <p:sldLayoutId id="2147483691" r:id="rId53"/>
    <p:sldLayoutId id="2147483692" r:id="rId54"/>
    <p:sldLayoutId id="2147483693" r:id="rId55"/>
    <p:sldLayoutId id="2147483694" r:id="rId56"/>
    <p:sldLayoutId id="2147483699" r:id="rId57"/>
    <p:sldLayoutId id="2147483700" r:id="rId58"/>
    <p:sldLayoutId id="2147483696" r:id="rId59"/>
    <p:sldLayoutId id="2147483697" r:id="rId60"/>
    <p:sldLayoutId id="2147483698" r:id="rId61"/>
  </p:sldLayoutIdLst>
  <p:txStyles>
    <p:titleStyle>
      <a:lvl1pPr algn="l" defTabSz="801472" rtl="0" eaLnBrk="1" latinLnBrk="0" hangingPunct="1">
        <a:lnSpc>
          <a:spcPct val="85000"/>
        </a:lnSpc>
        <a:spcBef>
          <a:spcPct val="0"/>
        </a:spcBef>
        <a:buNone/>
        <a:defRPr sz="2104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12574" indent="-312574" algn="l" defTabSz="801472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53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625148" indent="-312574" algn="l" defTabSz="801472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7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937722" indent="-312574" algn="l" defTabSz="801472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402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250296" indent="-312574" algn="l" defTabSz="801472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227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562870" indent="-312574" algn="l" defTabSz="801472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052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204047" indent="-200368" algn="l" defTabSz="801472" rtl="0" eaLnBrk="1" latinLnBrk="0" hangingPunct="1">
        <a:spcBef>
          <a:spcPct val="20000"/>
        </a:spcBef>
        <a:buFont typeface="Arial" pitchFamily="34" charset="0"/>
        <a:buChar char="•"/>
        <a:defRPr sz="1753" kern="1200">
          <a:solidFill>
            <a:schemeClr val="tx1"/>
          </a:solidFill>
          <a:latin typeface="+mn-lt"/>
          <a:ea typeface="+mn-ea"/>
          <a:cs typeface="+mn-cs"/>
        </a:defRPr>
      </a:lvl6pPr>
      <a:lvl7pPr marL="2604783" indent="-200368" algn="l" defTabSz="801472" rtl="0" eaLnBrk="1" latinLnBrk="0" hangingPunct="1">
        <a:spcBef>
          <a:spcPct val="20000"/>
        </a:spcBef>
        <a:buFont typeface="Arial" pitchFamily="34" charset="0"/>
        <a:buChar char="•"/>
        <a:defRPr sz="1753" kern="1200">
          <a:solidFill>
            <a:schemeClr val="tx1"/>
          </a:solidFill>
          <a:latin typeface="+mn-lt"/>
          <a:ea typeface="+mn-ea"/>
          <a:cs typeface="+mn-cs"/>
        </a:defRPr>
      </a:lvl7pPr>
      <a:lvl8pPr marL="3005519" indent="-200368" algn="l" defTabSz="801472" rtl="0" eaLnBrk="1" latinLnBrk="0" hangingPunct="1">
        <a:spcBef>
          <a:spcPct val="20000"/>
        </a:spcBef>
        <a:buFont typeface="Arial" pitchFamily="34" charset="0"/>
        <a:buChar char="•"/>
        <a:defRPr sz="1753" kern="1200">
          <a:solidFill>
            <a:schemeClr val="tx1"/>
          </a:solidFill>
          <a:latin typeface="+mn-lt"/>
          <a:ea typeface="+mn-ea"/>
          <a:cs typeface="+mn-cs"/>
        </a:defRPr>
      </a:lvl8pPr>
      <a:lvl9pPr marL="3406254" indent="-200368" algn="l" defTabSz="801472" rtl="0" eaLnBrk="1" latinLnBrk="0" hangingPunct="1">
        <a:spcBef>
          <a:spcPct val="20000"/>
        </a:spcBef>
        <a:buFont typeface="Arial" pitchFamily="34" charset="0"/>
        <a:buChar char="•"/>
        <a:defRPr sz="17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1pPr>
      <a:lvl2pPr marL="400736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2pPr>
      <a:lvl3pPr marL="801472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3pPr>
      <a:lvl4pPr marL="1202207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4pPr>
      <a:lvl5pPr marL="1602943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5pPr>
      <a:lvl6pPr marL="2003679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6pPr>
      <a:lvl7pPr marL="2404415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7pPr>
      <a:lvl8pPr marL="2805151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8pPr>
      <a:lvl9pPr marL="3205886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13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591" y="1254346"/>
            <a:ext cx="9622632" cy="54541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7FA7D49F-D989-4CDB-9335-913430F742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52450" y="7133348"/>
            <a:ext cx="1044134" cy="198417"/>
          </a:xfrm>
          <a:prstGeom prst="rect">
            <a:avLst/>
          </a:prstGeom>
        </p:spPr>
        <p:txBody>
          <a:bodyPr/>
          <a:lstStyle>
            <a:lvl1pPr marL="0" algn="l" defTabSz="801472" rtl="0" eaLnBrk="1" latinLnBrk="0" hangingPunct="1">
              <a:defRPr lang="en-US" sz="701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A7100257-1BC6-4873-8F55-DA97C4F73818}" type="datetime3">
              <a:rPr lang="en-US" smtClean="0"/>
              <a:t>24 March 2025</a:t>
            </a:fld>
            <a:endParaRPr lang="en-IN" dirty="0"/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26944631-E8AF-4601-B721-3347E3AFB2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39138" y="7133348"/>
            <a:ext cx="2704956" cy="198417"/>
          </a:xfrm>
          <a:prstGeom prst="rect">
            <a:avLst/>
          </a:prstGeom>
        </p:spPr>
        <p:txBody>
          <a:bodyPr/>
          <a:lstStyle>
            <a:lvl1pPr marL="0" algn="l" defTabSz="801472" rtl="0" eaLnBrk="1" latinLnBrk="0" hangingPunct="1">
              <a:defRPr lang="en-US" sz="701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IN" dirty="0"/>
              <a:t>Presentation title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1E733AAD-1BCD-417D-A2A4-521F133E28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40992" y="7133348"/>
            <a:ext cx="581175" cy="198417"/>
          </a:xfrm>
          <a:prstGeom prst="rect">
            <a:avLst/>
          </a:prstGeom>
        </p:spPr>
        <p:txBody>
          <a:bodyPr/>
          <a:lstStyle>
            <a:lvl1pPr marL="0" algn="l" defTabSz="801472" rtl="0" eaLnBrk="1" latinLnBrk="0" hangingPunct="1">
              <a:defRPr lang="en-GB" sz="701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7E89FB01-0304-4B7A-83F4-087FD710583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893128" y="7006699"/>
            <a:ext cx="265765" cy="342985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DE1CE93-8A80-4A24-92CA-71C05E4537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769AC85D-6BA0-4E5B-A206-FB7E85E0DDB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A99D1FF-A731-4C56-AEC5-4C61FAC7487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</p:spTree>
    <p:extLst>
      <p:ext uri="{BB962C8B-B14F-4D97-AF65-F5344CB8AC3E}">
        <p14:creationId xmlns:p14="http://schemas.microsoft.com/office/powerpoint/2010/main" val="338154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  <p:sldLayoutId id="2147483766" r:id="rId12"/>
    <p:sldLayoutId id="2147483767" r:id="rId13"/>
    <p:sldLayoutId id="2147483768" r:id="rId14"/>
    <p:sldLayoutId id="2147483769" r:id="rId15"/>
    <p:sldLayoutId id="2147483770" r:id="rId16"/>
    <p:sldLayoutId id="2147483771" r:id="rId17"/>
    <p:sldLayoutId id="2147483772" r:id="rId18"/>
    <p:sldLayoutId id="2147483773" r:id="rId19"/>
    <p:sldLayoutId id="2147483774" r:id="rId20"/>
    <p:sldLayoutId id="2147483775" r:id="rId21"/>
    <p:sldLayoutId id="2147483776" r:id="rId22"/>
    <p:sldLayoutId id="2147483777" r:id="rId23"/>
    <p:sldLayoutId id="2147483778" r:id="rId24"/>
    <p:sldLayoutId id="2147483779" r:id="rId25"/>
    <p:sldLayoutId id="2147483780" r:id="rId26"/>
    <p:sldLayoutId id="2147483781" r:id="rId27"/>
    <p:sldLayoutId id="2147483782" r:id="rId28"/>
    <p:sldLayoutId id="2147483783" r:id="rId29"/>
    <p:sldLayoutId id="2147483784" r:id="rId30"/>
    <p:sldLayoutId id="2147483787" r:id="rId31"/>
    <p:sldLayoutId id="2147483786" r:id="rId32"/>
    <p:sldLayoutId id="2147483785" r:id="rId33"/>
  </p:sldLayoutIdLst>
  <p:hf hdr="0"/>
  <p:txStyles>
    <p:titleStyle>
      <a:lvl1pPr algn="l" defTabSz="801472" rtl="0" eaLnBrk="1" latinLnBrk="0" hangingPunct="1">
        <a:lnSpc>
          <a:spcPct val="85000"/>
        </a:lnSpc>
        <a:spcBef>
          <a:spcPct val="0"/>
        </a:spcBef>
        <a:buNone/>
        <a:defRPr sz="2104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12574" indent="-312574" algn="l" defTabSz="801472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53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625148" indent="-312574" algn="l" defTabSz="801472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7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937722" indent="-312574" algn="l" defTabSz="801472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402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250296" indent="-312574" algn="l" defTabSz="801472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227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562870" indent="-312574" algn="l" defTabSz="801472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052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204047" indent="-200368" algn="l" defTabSz="801472" rtl="0" eaLnBrk="1" latinLnBrk="0" hangingPunct="1">
        <a:spcBef>
          <a:spcPct val="20000"/>
        </a:spcBef>
        <a:buFont typeface="Arial" pitchFamily="34" charset="0"/>
        <a:buChar char="•"/>
        <a:defRPr sz="1753" kern="1200">
          <a:solidFill>
            <a:schemeClr val="tx1"/>
          </a:solidFill>
          <a:latin typeface="+mn-lt"/>
          <a:ea typeface="+mn-ea"/>
          <a:cs typeface="+mn-cs"/>
        </a:defRPr>
      </a:lvl6pPr>
      <a:lvl7pPr marL="2604783" indent="-200368" algn="l" defTabSz="801472" rtl="0" eaLnBrk="1" latinLnBrk="0" hangingPunct="1">
        <a:spcBef>
          <a:spcPct val="20000"/>
        </a:spcBef>
        <a:buFont typeface="Arial" pitchFamily="34" charset="0"/>
        <a:buChar char="•"/>
        <a:defRPr sz="1753" kern="1200">
          <a:solidFill>
            <a:schemeClr val="tx1"/>
          </a:solidFill>
          <a:latin typeface="+mn-lt"/>
          <a:ea typeface="+mn-ea"/>
          <a:cs typeface="+mn-cs"/>
        </a:defRPr>
      </a:lvl7pPr>
      <a:lvl8pPr marL="3005519" indent="-200368" algn="l" defTabSz="801472" rtl="0" eaLnBrk="1" latinLnBrk="0" hangingPunct="1">
        <a:spcBef>
          <a:spcPct val="20000"/>
        </a:spcBef>
        <a:buFont typeface="Arial" pitchFamily="34" charset="0"/>
        <a:buChar char="•"/>
        <a:defRPr sz="1753" kern="1200">
          <a:solidFill>
            <a:schemeClr val="tx1"/>
          </a:solidFill>
          <a:latin typeface="+mn-lt"/>
          <a:ea typeface="+mn-ea"/>
          <a:cs typeface="+mn-cs"/>
        </a:defRPr>
      </a:lvl8pPr>
      <a:lvl9pPr marL="3406254" indent="-200368" algn="l" defTabSz="801472" rtl="0" eaLnBrk="1" latinLnBrk="0" hangingPunct="1">
        <a:spcBef>
          <a:spcPct val="20000"/>
        </a:spcBef>
        <a:buFont typeface="Arial" pitchFamily="34" charset="0"/>
        <a:buChar char="•"/>
        <a:defRPr sz="17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1pPr>
      <a:lvl2pPr marL="400736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2pPr>
      <a:lvl3pPr marL="801472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3pPr>
      <a:lvl4pPr marL="1202207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4pPr>
      <a:lvl5pPr marL="1602943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5pPr>
      <a:lvl6pPr marL="2003679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6pPr>
      <a:lvl7pPr marL="2404415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7pPr>
      <a:lvl8pPr marL="2805151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8pPr>
      <a:lvl9pPr marL="3205886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91.xml"/><Relationship Id="rId4" Type="http://schemas.openxmlformats.org/officeDocument/2006/relationships/image" Target="../media/image23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68FCFA1-3C97-B600-BABB-82F77A24DC9C}"/>
              </a:ext>
            </a:extLst>
          </p:cNvPr>
          <p:cNvSpPr/>
          <p:nvPr/>
        </p:nvSpPr>
        <p:spPr>
          <a:xfrm>
            <a:off x="1194" y="-2"/>
            <a:ext cx="2627705" cy="755967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E11B10C-6A3E-BA03-C095-E624C3476328}"/>
              </a:ext>
            </a:extLst>
          </p:cNvPr>
          <p:cNvSpPr txBox="1">
            <a:spLocks/>
          </p:cNvSpPr>
          <p:nvPr/>
        </p:nvSpPr>
        <p:spPr>
          <a:xfrm>
            <a:off x="3682722" y="6771226"/>
            <a:ext cx="6259181" cy="276999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en-GB" sz="1800" b="0" dirty="0">
                <a:solidFill>
                  <a:schemeClr val="bg1"/>
                </a:solidFill>
                <a:latin typeface="EYInterstate" panose="02000503020000020004" pitchFamily="2" charset="0"/>
              </a:rPr>
              <a:t>Don’t just predict the future. Build a better one. </a:t>
            </a:r>
          </a:p>
        </p:txBody>
      </p:sp>
      <p:sp>
        <p:nvSpPr>
          <p:cNvPr id="7" name="Freeform 17">
            <a:extLst>
              <a:ext uri="{FF2B5EF4-FFF2-40B4-BE49-F238E27FC236}">
                <a16:creationId xmlns:a16="http://schemas.microsoft.com/office/drawing/2014/main" id="{63DF2E54-6CBC-DD45-82D7-CCEDE8387CF1}"/>
              </a:ext>
            </a:extLst>
          </p:cNvPr>
          <p:cNvSpPr>
            <a:spLocks/>
          </p:cNvSpPr>
          <p:nvPr/>
        </p:nvSpPr>
        <p:spPr bwMode="auto">
          <a:xfrm>
            <a:off x="4804919" y="797243"/>
            <a:ext cx="4014786" cy="35530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s is to certify that</a:t>
            </a:r>
            <a:endParaRPr kumimoji="0" lang="en-GB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sp>
        <p:nvSpPr>
          <p:cNvPr id="8" name="Title 35">
            <a:extLst>
              <a:ext uri="{FF2B5EF4-FFF2-40B4-BE49-F238E27FC236}">
                <a16:creationId xmlns:a16="http://schemas.microsoft.com/office/drawing/2014/main" id="{A6CE1489-4E46-9358-573B-6A61FCA2DA3A}"/>
              </a:ext>
            </a:extLst>
          </p:cNvPr>
          <p:cNvSpPr txBox="1">
            <a:spLocks/>
          </p:cNvSpPr>
          <p:nvPr/>
        </p:nvSpPr>
        <p:spPr>
          <a:xfrm>
            <a:off x="3680805" y="1414319"/>
            <a:ext cx="6263014" cy="574258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80147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500" b="1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endParaRPr lang="en-US" dirty="0">
              <a:latin typeface="EYInterstate Light" panose="02000506000000020004" pitchFamily="2" charset="0"/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288328F0-9996-C813-DF8A-05E83123EFE8}"/>
              </a:ext>
            </a:extLst>
          </p:cNvPr>
          <p:cNvSpPr txBox="1">
            <a:spLocks/>
          </p:cNvSpPr>
          <p:nvPr/>
        </p:nvSpPr>
        <p:spPr>
          <a:xfrm>
            <a:off x="3680805" y="2386696"/>
            <a:ext cx="6263014" cy="928572"/>
          </a:xfrm>
          <a:prstGeom prst="rect">
            <a:avLst/>
          </a:prstGeom>
        </p:spPr>
        <p:txBody>
          <a:bodyPr vert="horz" lIns="80189" tIns="40095" rIns="80189" bIns="40095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07943">
              <a:lnSpc>
                <a:spcPct val="100000"/>
              </a:lnSpc>
              <a:spcBef>
                <a:spcPct val="0"/>
              </a:spcBef>
            </a:pPr>
            <a:r>
              <a:rPr lang="en-IN" dirty="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+mj-cs"/>
              </a:rPr>
              <a:t>successfully completed the 202</a:t>
            </a:r>
            <a:r>
              <a:rPr lang="pl-PL" dirty="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+mj-cs"/>
              </a:rPr>
              <a:t>5</a:t>
            </a:r>
            <a:r>
              <a:rPr lang="en-IN" dirty="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+mj-cs"/>
              </a:rPr>
              <a:t> </a:t>
            </a:r>
            <a:r>
              <a:rPr lang="pl-PL" dirty="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+mj-cs"/>
              </a:rPr>
              <a:t>EY Open Science AI &amp; Data Challenge</a:t>
            </a:r>
            <a:r>
              <a:rPr lang="en-GB" dirty="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+mj-cs"/>
              </a:rPr>
              <a:t>.</a:t>
            </a:r>
            <a:br>
              <a:rPr lang="en-IN" dirty="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+mj-cs"/>
              </a:rPr>
            </a:br>
            <a:endParaRPr lang="en-IN" dirty="0">
              <a:solidFill>
                <a:schemeClr val="bg1"/>
              </a:solidFill>
              <a:latin typeface="EYInterstate Light" panose="02000506000000020004" pitchFamily="2" charset="0"/>
              <a:ea typeface="+mj-ea"/>
              <a:cs typeface="+mj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1978308-D202-DBC5-98CF-8C8B570442F8}"/>
              </a:ext>
            </a:extLst>
          </p:cNvPr>
          <p:cNvSpPr txBox="1">
            <a:spLocks/>
          </p:cNvSpPr>
          <p:nvPr/>
        </p:nvSpPr>
        <p:spPr>
          <a:xfrm>
            <a:off x="3151029" y="5205508"/>
            <a:ext cx="330778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pl-PL" sz="1600" b="1" dirty="0">
                <a:solidFill>
                  <a:schemeClr val="bg1"/>
                </a:solidFill>
                <a:latin typeface="EYInterstate Light" panose="02000506000000020004" pitchFamily="2" charset="0"/>
              </a:rPr>
              <a:t>Catherine McCourt</a:t>
            </a:r>
            <a:endParaRPr lang="en-GB" sz="1600" b="1" dirty="0">
              <a:solidFill>
                <a:schemeClr val="bg1"/>
              </a:solidFill>
              <a:latin typeface="EYInterstate Light" panose="02000506000000020004" pitchFamily="2" charset="0"/>
            </a:endParaRPr>
          </a:p>
          <a:p>
            <a:pPr algn="ctr"/>
            <a:r>
              <a:rPr lang="en-GB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EY Global </a:t>
            </a:r>
            <a:r>
              <a:rPr lang="pl-PL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Technology Consulting </a:t>
            </a:r>
            <a:r>
              <a:rPr lang="en-GB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 Leader</a:t>
            </a:r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91AB0F5F-DF2A-0AD2-6293-4683FB75395D}"/>
              </a:ext>
            </a:extLst>
          </p:cNvPr>
          <p:cNvSpPr txBox="1">
            <a:spLocks/>
          </p:cNvSpPr>
          <p:nvPr/>
        </p:nvSpPr>
        <p:spPr>
          <a:xfrm>
            <a:off x="668074" y="6804892"/>
            <a:ext cx="1293944" cy="338554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dirty="0"/>
              <a:t>© 202</a:t>
            </a:r>
            <a:r>
              <a:rPr lang="pl-PL" sz="800" dirty="0"/>
              <a:t>5</a:t>
            </a:r>
            <a:r>
              <a:rPr lang="en-US" sz="800" dirty="0"/>
              <a:t> EYGM Limited. All Rights Reserved.</a:t>
            </a:r>
            <a:br>
              <a:rPr lang="en-US" sz="800" dirty="0"/>
            </a:br>
            <a:endParaRPr lang="en-GB" sz="8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7600B24-85FE-AC8A-9904-8B8062DDF449}"/>
              </a:ext>
            </a:extLst>
          </p:cNvPr>
          <p:cNvSpPr/>
          <p:nvPr/>
        </p:nvSpPr>
        <p:spPr>
          <a:xfrm>
            <a:off x="2628898" y="-1"/>
            <a:ext cx="177231" cy="7559676"/>
          </a:xfrm>
          <a:prstGeom prst="rect">
            <a:avLst/>
          </a:prstGeom>
          <a:solidFill>
            <a:srgbClr val="C4C4C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01312AD-9B56-1C60-7BD2-06FF58B97A38}"/>
              </a:ext>
            </a:extLst>
          </p:cNvPr>
          <p:cNvSpPr/>
          <p:nvPr/>
        </p:nvSpPr>
        <p:spPr>
          <a:xfrm>
            <a:off x="2801323" y="0"/>
            <a:ext cx="177231" cy="7559673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A93213F-C442-1A07-2609-EF42D2616734}"/>
              </a:ext>
            </a:extLst>
          </p:cNvPr>
          <p:cNvSpPr txBox="1">
            <a:spLocks/>
          </p:cNvSpPr>
          <p:nvPr/>
        </p:nvSpPr>
        <p:spPr>
          <a:xfrm>
            <a:off x="6711646" y="5205508"/>
            <a:ext cx="3307780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EYInterstate Light" panose="02000506000000020004" pitchFamily="2" charset="0"/>
              </a:rPr>
              <a:t>Brian Killough, PhD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EY Open Science AI &amp; Data Challenge Program Director</a:t>
            </a:r>
          </a:p>
        </p:txBody>
      </p:sp>
      <p:sp>
        <p:nvSpPr>
          <p:cNvPr id="5" name="Text 1"/>
          <p:cNvSpPr txBox="1"/>
          <p:nvPr/>
        </p:nvSpPr>
        <p:spPr>
          <a:xfrm>
            <a:off x="5524500" y="1651000"/>
            <a:ext cx="2540000" cy="381000"/>
          </a:xfrm>
          <a:prstGeom prst="rect">
            <a:avLst/>
          </a:prstGeom>
          <a:noFill/>
        </p:spPr>
        <p:txBody>
          <a:bodyPr wrap="none" lIns="0" tIns="0" rIns="0" bIns="0" rtlCol="0" anchor="ctr"/>
          <a:lstStyle/>
          <a:p>
            <a:pPr algn="ctr"/>
            <a:r>
              <a:rPr lang="en-US" sz="3200" b="1">
                <a:solidFill>
                  <a:srgbClr val="2E2E38"/>
                </a:solidFill>
                <a:latin typeface="EYInterstate Light (Body)" charset="0"/>
                <a:cs typeface="EYInterstate Light (Body)" charset="0"/>
              </a:rPr>
              <a:t>Rahul Mohan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ABFDC6A-DFDA-EB1D-DF03-C5B1E160FE68}"/>
              </a:ext>
            </a:extLst>
          </p:cNvPr>
          <p:cNvCxnSpPr>
            <a:cxnSpLocks/>
          </p:cNvCxnSpPr>
          <p:nvPr/>
        </p:nvCxnSpPr>
        <p:spPr>
          <a:xfrm>
            <a:off x="3680805" y="2188602"/>
            <a:ext cx="6263014" cy="0"/>
          </a:xfrm>
          <a:prstGeom prst="line">
            <a:avLst/>
          </a:prstGeom>
          <a:ln w="12700">
            <a:solidFill>
              <a:srgbClr val="747480"/>
            </a:solidFill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8B2BA2E-06CA-3778-D428-0CC3E4F7F0D8}"/>
              </a:ext>
            </a:extLst>
          </p:cNvPr>
          <p:cNvCxnSpPr>
            <a:cxnSpLocks/>
          </p:cNvCxnSpPr>
          <p:nvPr/>
        </p:nvCxnSpPr>
        <p:spPr>
          <a:xfrm>
            <a:off x="3645083" y="5140789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26FACFB-26DE-0925-A2A8-9C2E4E863C04}"/>
              </a:ext>
            </a:extLst>
          </p:cNvPr>
          <p:cNvCxnSpPr>
            <a:cxnSpLocks/>
          </p:cNvCxnSpPr>
          <p:nvPr/>
        </p:nvCxnSpPr>
        <p:spPr>
          <a:xfrm>
            <a:off x="7146325" y="5140789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A black and white sign with white text&#10;&#10;Description automatically generated">
            <a:extLst>
              <a:ext uri="{FF2B5EF4-FFF2-40B4-BE49-F238E27FC236}">
                <a16:creationId xmlns:a16="http://schemas.microsoft.com/office/drawing/2014/main" id="{1710EDCC-34CE-B1A2-4FE4-324EE8D16A1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521" y="416229"/>
            <a:ext cx="1063049" cy="1157463"/>
          </a:xfrm>
          <a:prstGeom prst="rect">
            <a:avLst/>
          </a:prstGeom>
        </p:spPr>
      </p:pic>
      <p:pic>
        <p:nvPicPr>
          <p:cNvPr id="3" name="Picture 2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F607639F-3825-179F-7E24-46908538CB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5815" y="4427290"/>
            <a:ext cx="2324100" cy="723900"/>
          </a:xfrm>
          <a:prstGeom prst="rect">
            <a:avLst/>
          </a:prstGeom>
        </p:spPr>
      </p:pic>
      <p:pic>
        <p:nvPicPr>
          <p:cNvPr id="14" name="Picture 13" descr="A black and white drawing of a circle&#10;&#10;Description automatically generated">
            <a:extLst>
              <a:ext uri="{FF2B5EF4-FFF2-40B4-BE49-F238E27FC236}">
                <a16:creationId xmlns:a16="http://schemas.microsoft.com/office/drawing/2014/main" id="{95C4C7D3-D659-F544-44D2-D286415FDF3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8444" y="4270105"/>
            <a:ext cx="1995478" cy="701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6428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CUSTOMLAYOUT" val="F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Y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Y" id="{228E2B07-127F-4EFA-BB7B-042DF1A2D2B4}" vid="{129C5A64-0341-48F8-B982-E0BC87278477}"/>
    </a:ext>
  </a:extLst>
</a:theme>
</file>

<file path=ppt/theme/theme2.xml><?xml version="1.0" encoding="utf-8"?>
<a:theme xmlns:a="http://schemas.openxmlformats.org/drawingml/2006/main" name="EY light background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e2d13b0-d45e-4147-aff9-04bb18fdf11b" xsi:nil="true"/>
    <lcf76f155ced4ddcb4097134ff3c332f xmlns="6ea77fff-9a19-4023-9969-55be1f39f3a5">
      <Terms xmlns="http://schemas.microsoft.com/office/infopath/2007/PartnerControls"/>
    </lcf76f155ced4ddcb4097134ff3c332f>
    <SharedWithUsers xmlns="ae2d13b0-d45e-4147-aff9-04bb18fdf11b">
      <UserInfo>
        <DisplayName/>
        <AccountId xsi:nil="true"/>
        <AccountType/>
      </UserInfo>
    </SharedWithUsers>
    <MediaLengthInSeconds xmlns="6ea77fff-9a19-4023-9969-55be1f39f3a5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930A2D8000E9D4B8D7CE6D2E613C6F5" ma:contentTypeVersion="13" ma:contentTypeDescription="Create a new document." ma:contentTypeScope="" ma:versionID="5938e4ef7e56987ce38f2f8822d6490a">
  <xsd:schema xmlns:xsd="http://www.w3.org/2001/XMLSchema" xmlns:xs="http://www.w3.org/2001/XMLSchema" xmlns:p="http://schemas.microsoft.com/office/2006/metadata/properties" xmlns:ns2="6ea77fff-9a19-4023-9969-55be1f39f3a5" xmlns:ns3="ae2d13b0-d45e-4147-aff9-04bb18fdf11b" targetNamespace="http://schemas.microsoft.com/office/2006/metadata/properties" ma:root="true" ma:fieldsID="3d0e8946dd47530e1b03402afc81f8c7" ns2:_="" ns3:_="">
    <xsd:import namespace="6ea77fff-9a19-4023-9969-55be1f39f3a5"/>
    <xsd:import namespace="ae2d13b0-d45e-4147-aff9-04bb18fdf11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a77fff-9a19-4023-9969-55be1f39f3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33ef62f9-2e07-484b-bd79-00aec90129f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e2d13b0-d45e-4147-aff9-04bb18fdf11b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c38fe6c9-e26f-4ea7-b7ae-699701361c00}" ma:internalName="TaxCatchAll" ma:showField="CatchAllData" ma:web="ae2d13b0-d45e-4147-aff9-04bb18fdf11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  <xs:attribute name="EntityNamespace" type="xs:string"/>
    <xs:attribute name="EntityName" type="xs:string"/>
    <xs:attribute name="SystemInstanceName" type="xs:string"/>
    <xs:attribute name="AssociationName" type="xs:string"/>
  </xs:schema>
</ct:contentTypeSchema>
</file>

<file path=customXml/item3.xml><?xml version="1.0" encoding="utf-8"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1EF11E8-5335-49BB-9BB1-EBCDE4F8353F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6ea77fff-9a19-4023-9969-55be1f39f3a5"/>
    <ds:schemaRef ds:uri="ae2d13b0-d45e-4147-aff9-04bb18fdf11b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471F701D-06E5-46A4-B451-CACF89BE20E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ea77fff-9a19-4023-9969-55be1f39f3a5"/>
    <ds:schemaRef ds:uri="ae2d13b0-d45e-4147-aff9-04bb18fdf11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70E37C4-81A6-4FF6-889B-12FF1A95A38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Y</Template>
  <TotalTime>0</TotalTime>
  <Words>63</Words>
  <Application>Microsoft Office PowerPoint</Application>
  <PresentationFormat>Custom</PresentationFormat>
  <Paragraphs>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Arial</vt:lpstr>
      <vt:lpstr>Calibri</vt:lpstr>
      <vt:lpstr>EYInterstate</vt:lpstr>
      <vt:lpstr>EYInterstate Light</vt:lpstr>
      <vt:lpstr>EYInterstate Light (Body)</vt:lpstr>
      <vt:lpstr>Georgia</vt:lpstr>
      <vt:lpstr>Segoe UI</vt:lpstr>
      <vt:lpstr>EY</vt:lpstr>
      <vt:lpstr>EY light background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to certify that</dc:title>
  <dc:creator>Paula Smedley</dc:creator>
  <cp:lastModifiedBy>Rahul Mohan</cp:lastModifiedBy>
  <cp:revision>17</cp:revision>
  <dcterms:created xsi:type="dcterms:W3CDTF">2021-08-20T09:01:46Z</dcterms:created>
  <dcterms:modified xsi:type="dcterms:W3CDTF">2025-03-24T06:43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930A2D8000E9D4B8D7CE6D2E613C6F5</vt:lpwstr>
  </property>
  <property fmtid="{D5CDD505-2E9C-101B-9397-08002B2CF9AE}" pid="3" name="Order">
    <vt:r8>1348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_ExtendedDescription">
    <vt:lpwstr/>
  </property>
  <property fmtid="{D5CDD505-2E9C-101B-9397-08002B2CF9AE}" pid="7" name="TriggerFlowInfo">
    <vt:lpwstr/>
  </property>
  <property fmtid="{D5CDD505-2E9C-101B-9397-08002B2CF9AE}" pid="8" name="ComplianceAssetId">
    <vt:lpwstr/>
  </property>
  <property fmtid="{D5CDD505-2E9C-101B-9397-08002B2CF9AE}" pid="9" name="TemplateUrl">
    <vt:lpwstr/>
  </property>
  <property fmtid="{D5CDD505-2E9C-101B-9397-08002B2CF9AE}" pid="10" name="MediaServiceImageTags">
    <vt:lpwstr/>
  </property>
</Properties>
</file>